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embeddings/oleObject3.bin" ContentType="application/vnd.openxmlformats-officedocument.oleObject"/>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0.xml" ContentType="application/vnd.openxmlformats-officedocument.theme+xml"/>
  <Override PartName="/ppt/tags/tag5.xml" ContentType="application/vnd.openxmlformats-officedocument.presentationml.tags+xml"/>
  <Override PartName="/ppt/embeddings/oleObject4.bin" ContentType="application/vnd.openxmlformats-officedocument.oleObject"/>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embeddings/oleObject5.bin" ContentType="application/vnd.openxmlformats-officedocument.oleObject"/>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2.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4.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5.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6.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7.xml" ContentType="application/vnd.openxmlformats-officedocument.theme+xml"/>
  <Override PartName="/ppt/tags/tag7.xml" ContentType="application/vnd.openxmlformats-officedocument.presentationml.tags+xml"/>
  <Override PartName="/ppt/embeddings/oleObject6.bin" ContentType="application/vnd.openxmlformats-officedocument.oleObject"/>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9.xml" ContentType="application/vnd.openxmlformats-officedocument.theme+xml"/>
  <Override PartName="/ppt/tags/tag8.xml" ContentType="application/vnd.openxmlformats-officedocument.presentationml.tags+xml"/>
  <Override PartName="/ppt/embeddings/oleObject7.bin" ContentType="application/vnd.openxmlformats-officedocument.oleObject"/>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0.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1.xml" ContentType="application/vnd.openxmlformats-officedocument.theme+xml"/>
  <Override PartName="/ppt/tags/tag9.xml" ContentType="application/vnd.openxmlformats-officedocument.presentationml.tags+xml"/>
  <Override PartName="/ppt/embeddings/oleObject8.bin" ContentType="application/vnd.openxmlformats-officedocument.oleObject"/>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2.xml" ContentType="application/vnd.openxmlformats-officedocument.theme+xml"/>
  <Override PartName="/ppt/tags/tag10.xml" ContentType="application/vnd.openxmlformats-officedocument.presentationml.tags+xml"/>
  <Override PartName="/ppt/embeddings/oleObject9.bin" ContentType="application/vnd.openxmlformats-officedocument.oleObject"/>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23.xml" ContentType="application/vnd.openxmlformats-officedocument.theme+xml"/>
  <Override PartName="/ppt/tags/tag11.xml" ContentType="application/vnd.openxmlformats-officedocument.presentationml.tags+xml"/>
  <Override PartName="/ppt/embeddings/oleObject10.bin" ContentType="application/vnd.openxmlformats-officedocument.oleObject"/>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24.xml" ContentType="application/vnd.openxmlformats-officedocument.theme+xml"/>
  <Override PartName="/ppt/tags/tag12.xml" ContentType="application/vnd.openxmlformats-officedocument.presentationml.tags+xml"/>
  <Override PartName="/ppt/embeddings/oleObject11.bin" ContentType="application/vnd.openxmlformats-officedocument.oleObject"/>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84" r:id="rId2"/>
    <p:sldMasterId id="2147483702" r:id="rId3"/>
    <p:sldMasterId id="2147483741" r:id="rId4"/>
    <p:sldMasterId id="2147483749" r:id="rId5"/>
    <p:sldMasterId id="2147483771" r:id="rId6"/>
    <p:sldMasterId id="2147483776" r:id="rId7"/>
    <p:sldMasterId id="2147483789" r:id="rId8"/>
    <p:sldMasterId id="2147483805" r:id="rId9"/>
    <p:sldMasterId id="2147483822" r:id="rId10"/>
    <p:sldMasterId id="2147483841" r:id="rId11"/>
    <p:sldMasterId id="2147483860" r:id="rId12"/>
    <p:sldMasterId id="2147483872" r:id="rId13"/>
    <p:sldMasterId id="2147483882" r:id="rId14"/>
    <p:sldMasterId id="2147483894" r:id="rId15"/>
    <p:sldMasterId id="2147483902" r:id="rId16"/>
    <p:sldMasterId id="2147483915" r:id="rId17"/>
    <p:sldMasterId id="2147483929" r:id="rId18"/>
    <p:sldMasterId id="2147483942" r:id="rId19"/>
    <p:sldMasterId id="2147483955" r:id="rId20"/>
    <p:sldMasterId id="2147483967" r:id="rId21"/>
    <p:sldMasterId id="2147483982" r:id="rId22"/>
    <p:sldMasterId id="2147484010" r:id="rId23"/>
    <p:sldMasterId id="2147484034" r:id="rId24"/>
  </p:sldMasterIdLst>
  <p:notesMasterIdLst>
    <p:notesMasterId r:id="rId40"/>
  </p:notesMasterIdLst>
  <p:handoutMasterIdLst>
    <p:handoutMasterId r:id="rId41"/>
  </p:handoutMasterIdLst>
  <p:sldIdLst>
    <p:sldId id="1170" r:id="rId25"/>
    <p:sldId id="1173" r:id="rId26"/>
    <p:sldId id="1141" r:id="rId27"/>
    <p:sldId id="1174" r:id="rId28"/>
    <p:sldId id="1178" r:id="rId29"/>
    <p:sldId id="1146" r:id="rId30"/>
    <p:sldId id="1163" r:id="rId31"/>
    <p:sldId id="1180" r:id="rId32"/>
    <p:sldId id="1165" r:id="rId33"/>
    <p:sldId id="1181" r:id="rId34"/>
    <p:sldId id="1177" r:id="rId35"/>
    <p:sldId id="1182" r:id="rId36"/>
    <p:sldId id="1183" r:id="rId37"/>
    <p:sldId id="1184" r:id="rId38"/>
    <p:sldId id="1171" r:id="rId39"/>
  </p:sldIdLst>
  <p:sldSz cx="9144000" cy="5143500" type="screen16x9"/>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k Shani" initials="ES" lastIdx="3" clrIdx="0"/>
  <p:cmAuthor id="2" name="Liron Hakim Bobrov" initials="LHB" lastIdx="7"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B1CA"/>
    <a:srgbClr val="000000"/>
    <a:srgbClr val="226693"/>
    <a:srgbClr val="0F8271"/>
    <a:srgbClr val="C3762E"/>
    <a:srgbClr val="2A7FB8"/>
    <a:srgbClr val="FFFFFF"/>
    <a:srgbClr val="FEF9E5"/>
    <a:srgbClr val="31B1CA"/>
    <a:srgbClr val="3337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87" autoAdjust="0"/>
    <p:restoredTop sz="74858" autoAdjust="0"/>
  </p:normalViewPr>
  <p:slideViewPr>
    <p:cSldViewPr>
      <p:cViewPr varScale="1">
        <p:scale>
          <a:sx n="162" d="100"/>
          <a:sy n="162" d="100"/>
        </p:scale>
        <p:origin x="-1960" y="-96"/>
      </p:cViewPr>
      <p:guideLst>
        <p:guide orient="horz" pos="1620"/>
        <p:guide pos="2880"/>
      </p:guideLst>
    </p:cSldViewPr>
  </p:slideViewPr>
  <p:notesTextViewPr>
    <p:cViewPr>
      <p:scale>
        <a:sx n="1" d="1"/>
        <a:sy n="1" d="1"/>
      </p:scale>
      <p:origin x="0" y="0"/>
    </p:cViewPr>
  </p:notesTextViewPr>
  <p:sorterViewPr>
    <p:cViewPr>
      <p:scale>
        <a:sx n="110" d="100"/>
        <a:sy n="110" d="100"/>
      </p:scale>
      <p:origin x="0" y="0"/>
    </p:cViewPr>
  </p:sorterViewPr>
  <p:notesViewPr>
    <p:cSldViewPr>
      <p:cViewPr varScale="1">
        <p:scale>
          <a:sx n="84" d="100"/>
          <a:sy n="84" d="100"/>
        </p:scale>
        <p:origin x="2976"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Master" Target="slideMasters/slideMaster20.xml"/><Relationship Id="rId21" Type="http://schemas.openxmlformats.org/officeDocument/2006/relationships/slideMaster" Target="slideMasters/slideMaster21.xml"/><Relationship Id="rId22" Type="http://schemas.openxmlformats.org/officeDocument/2006/relationships/slideMaster" Target="slideMasters/slideMaster22.xml"/><Relationship Id="rId23" Type="http://schemas.openxmlformats.org/officeDocument/2006/relationships/slideMaster" Target="slideMasters/slideMaster23.xml"/><Relationship Id="rId24" Type="http://schemas.openxmlformats.org/officeDocument/2006/relationships/slideMaster" Target="slideMasters/slideMaster24.xml"/><Relationship Id="rId25" Type="http://schemas.openxmlformats.org/officeDocument/2006/relationships/slide" Target="slides/slide1.xml"/><Relationship Id="rId26" Type="http://schemas.openxmlformats.org/officeDocument/2006/relationships/slide" Target="slides/slide2.xml"/><Relationship Id="rId27" Type="http://schemas.openxmlformats.org/officeDocument/2006/relationships/slide" Target="slides/slide3.xml"/><Relationship Id="rId28" Type="http://schemas.openxmlformats.org/officeDocument/2006/relationships/slide" Target="slides/slide4.xml"/><Relationship Id="rId29" Type="http://schemas.openxmlformats.org/officeDocument/2006/relationships/slide" Target="slides/slide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6.xml"/><Relationship Id="rId31" Type="http://schemas.openxmlformats.org/officeDocument/2006/relationships/slide" Target="slides/slide7.xml"/><Relationship Id="rId32" Type="http://schemas.openxmlformats.org/officeDocument/2006/relationships/slide" Target="slides/slide8.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9.xml"/><Relationship Id="rId34" Type="http://schemas.openxmlformats.org/officeDocument/2006/relationships/slide" Target="slides/slide10.xml"/><Relationship Id="rId35" Type="http://schemas.openxmlformats.org/officeDocument/2006/relationships/slide" Target="slides/slide11.xml"/><Relationship Id="rId36" Type="http://schemas.openxmlformats.org/officeDocument/2006/relationships/slide" Target="slides/slide12.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37" Type="http://schemas.openxmlformats.org/officeDocument/2006/relationships/slide" Target="slides/slide13.xml"/><Relationship Id="rId38" Type="http://schemas.openxmlformats.org/officeDocument/2006/relationships/slide" Target="slides/slide14.xml"/><Relationship Id="rId39" Type="http://schemas.openxmlformats.org/officeDocument/2006/relationships/slide" Target="slides/slide15.xml"/><Relationship Id="rId40" Type="http://schemas.openxmlformats.org/officeDocument/2006/relationships/notesMaster" Target="notesMasters/notesMaster1.xml"/><Relationship Id="rId41" Type="http://schemas.openxmlformats.org/officeDocument/2006/relationships/handoutMaster" Target="handoutMasters/handoutMaster1.xml"/><Relationship Id="rId42" Type="http://schemas.openxmlformats.org/officeDocument/2006/relationships/printerSettings" Target="printerSettings/printerSettings1.bin"/><Relationship Id="rId43" Type="http://schemas.openxmlformats.org/officeDocument/2006/relationships/tags" Target="tags/tag1.xml"/><Relationship Id="rId44" Type="http://schemas.openxmlformats.org/officeDocument/2006/relationships/commentAuthors" Target="commentAuthors.xml"/><Relationship Id="rId4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D5E6C5F-974E-4777-86AD-AB27698DED91}" type="datetimeFigureOut">
              <a:rPr lang="en-US" smtClean="0"/>
              <a:t>22/04/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1549F03-3B2D-4EB9-A35F-12EEDB649C1E}" type="slidenum">
              <a:rPr lang="en-US" smtClean="0"/>
              <a:t>‹#›</a:t>
            </a:fld>
            <a:endParaRPr lang="en-US"/>
          </a:p>
        </p:txBody>
      </p:sp>
    </p:spTree>
    <p:extLst>
      <p:ext uri="{BB962C8B-B14F-4D97-AF65-F5344CB8AC3E}">
        <p14:creationId xmlns:p14="http://schemas.microsoft.com/office/powerpoint/2010/main" val="24934800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FCDC5CE-90ED-C14B-9074-7722CC9A4605}" type="datetimeFigureOut">
              <a:rPr lang="en-US" smtClean="0"/>
              <a:t>22/04/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5FA557D-5B1A-4D4C-954C-3F2095B045AA}" type="slidenum">
              <a:rPr lang="en-US" smtClean="0"/>
              <a:t>‹#›</a:t>
            </a:fld>
            <a:endParaRPr lang="en-US"/>
          </a:p>
        </p:txBody>
      </p:sp>
    </p:spTree>
    <p:extLst>
      <p:ext uri="{BB962C8B-B14F-4D97-AF65-F5344CB8AC3E}">
        <p14:creationId xmlns:p14="http://schemas.microsoft.com/office/powerpoint/2010/main" val="368298403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A557D-5B1A-4D4C-954C-3F2095B045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4456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A557D-5B1A-4D4C-954C-3F2095B045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4340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A557D-5B1A-4D4C-954C-3F2095B045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8250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tinuous bag-of-words not continuous skip-gram</a:t>
            </a:r>
          </a:p>
          <a:p>
            <a:r>
              <a:rPr lang="en-US" dirty="0" smtClean="0"/>
              <a:t>An </a:t>
            </a:r>
            <a:r>
              <a:rPr lang="en-US" dirty="0" smtClean="0"/>
              <a:t>algorithm to learn word representation using their context.</a:t>
            </a:r>
          </a:p>
          <a:p>
            <a:r>
              <a:rPr lang="en-US" dirty="0" smtClean="0"/>
              <a:t>Sentiment specific.</a:t>
            </a:r>
          </a:p>
          <a:p>
            <a:r>
              <a:rPr lang="en-US" dirty="0" smtClean="0"/>
              <a:t>Twitter</a:t>
            </a:r>
            <a:r>
              <a:rPr lang="en-US" baseline="0" dirty="0" smtClean="0"/>
              <a:t> part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A557D-5B1A-4D4C-954C-3F2095B045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9548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mobee, in my opinion, is awesom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A557D-5B1A-4D4C-954C-3F2095B045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8250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A557D-5B1A-4D4C-954C-3F2095B045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9548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Dirichlet</a:t>
            </a:r>
            <a:r>
              <a:rPr lang="en-US" dirty="0" smtClean="0"/>
              <a:t> distribution is a conjugate prior to the multinomial distribution.</a:t>
            </a:r>
          </a:p>
          <a:p>
            <a:endParaRPr lang="en-US" dirty="0" smtClean="0"/>
          </a:p>
          <a:p>
            <a:r>
              <a:rPr lang="en-US" dirty="0" smtClean="0"/>
              <a:t>p(</a:t>
            </a:r>
            <a:r>
              <a:rPr lang="en-US" dirty="0" err="1" smtClean="0"/>
              <a:t>θ|x</a:t>
            </a:r>
            <a:r>
              <a:rPr lang="en-US" dirty="0" smtClean="0"/>
              <a:t>) are in the same probability distribution family as the prior probability distribution p(</a:t>
            </a:r>
            <a:r>
              <a:rPr lang="en-US" dirty="0" err="1" smtClean="0"/>
              <a:t>θ</a:t>
            </a:r>
            <a:r>
              <a:rPr lang="en-US" dirty="0" smtClean="0"/>
              <a:t>), the prior and posterior are then called conjugate distributions, and the prior is called a conjugate prior for the likelihood function.</a:t>
            </a:r>
            <a:endParaRPr lang="en-US" dirty="0"/>
          </a:p>
        </p:txBody>
      </p:sp>
      <p:sp>
        <p:nvSpPr>
          <p:cNvPr id="4" name="Slide Number Placeholder 3"/>
          <p:cNvSpPr>
            <a:spLocks noGrp="1"/>
          </p:cNvSpPr>
          <p:nvPr>
            <p:ph type="sldNum" sz="quarter" idx="10"/>
          </p:nvPr>
        </p:nvSpPr>
        <p:spPr/>
        <p:txBody>
          <a:bodyPr/>
          <a:lstStyle/>
          <a:p>
            <a:fld id="{75FA557D-5B1A-4D4C-954C-3F2095B045AA}" type="slidenum">
              <a:rPr lang="en-US" smtClean="0"/>
              <a:t>13</a:t>
            </a:fld>
            <a:endParaRPr lang="en-US"/>
          </a:p>
        </p:txBody>
      </p:sp>
    </p:spTree>
    <p:extLst>
      <p:ext uri="{BB962C8B-B14F-4D97-AF65-F5344CB8AC3E}">
        <p14:creationId xmlns:p14="http://schemas.microsoft.com/office/powerpoint/2010/main" val="30958002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A557D-5B1A-4D4C-954C-3F2095B045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61704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8.jpe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3.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4.png"/><Relationship Id="rId3" Type="http://schemas.openxmlformats.org/officeDocument/2006/relationships/image" Target="../media/image13.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3.png"/><Relationship Id="rId3" Type="http://schemas.openxmlformats.org/officeDocument/2006/relationships/image" Target="../media/image15.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2.jpe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7.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7.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microsoft.com/office/2007/relationships/hdphoto" Target="../media/hdphoto1.wdp"/></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6.jpe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8.jpe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3.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4.png"/><Relationship Id="rId3" Type="http://schemas.openxmlformats.org/officeDocument/2006/relationships/image" Target="../media/image13.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3.png"/><Relationship Id="rId3" Type="http://schemas.openxmlformats.org/officeDocument/2006/relationships/image" Target="../media/image15.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2.jpe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3.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4.png"/><Relationship Id="rId3" Type="http://schemas.openxmlformats.org/officeDocument/2006/relationships/image" Target="../media/image13.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3.png"/><Relationship Id="rId3" Type="http://schemas.openxmlformats.org/officeDocument/2006/relationships/image" Target="../media/image15.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2.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5.jpe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3.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4.png"/><Relationship Id="rId3" Type="http://schemas.openxmlformats.org/officeDocument/2006/relationships/image" Target="../media/image13.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3.png"/><Relationship Id="rId3" Type="http://schemas.openxmlformats.org/officeDocument/2006/relationships/image" Target="../media/image15.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2.jpe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5.jpe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5.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9.jpe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0.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11.jpe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jpg"/><Relationship Id="rId3" Type="http://schemas.openxmlformats.org/officeDocument/2006/relationships/image" Target="../media/image4.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5.jpe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0"/>
            <a:ext cx="2011514" cy="1853031"/>
          </a:xfrm>
          <a:prstGeom prst="rect">
            <a:avLst/>
          </a:prstGeom>
        </p:spPr>
      </p:pic>
      <p:sp>
        <p:nvSpPr>
          <p:cNvPr id="21" name="Title 15"/>
          <p:cNvSpPr>
            <a:spLocks noGrp="1"/>
          </p:cNvSpPr>
          <p:nvPr>
            <p:ph type="title" hasCustomPrompt="1"/>
          </p:nvPr>
        </p:nvSpPr>
        <p:spPr>
          <a:xfrm>
            <a:off x="573517"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181022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77006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Subhead">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3"/>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5" y="1490135"/>
            <a:ext cx="824344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51" indent="-274313">
              <a:spcBef>
                <a:spcPts val="0"/>
              </a:spcBef>
              <a:spcAft>
                <a:spcPts val="900"/>
              </a:spcAft>
              <a:buClr>
                <a:schemeClr val="accent1"/>
              </a:buClr>
              <a:defRPr sz="1600" spc="-30">
                <a:solidFill>
                  <a:schemeClr val="tx1">
                    <a:lumMod val="85000"/>
                    <a:lumOff val="15000"/>
                  </a:schemeClr>
                </a:solidFill>
                <a:latin typeface="Arial"/>
                <a:cs typeface="Arial"/>
              </a:defRPr>
            </a:lvl2pPr>
            <a:lvl3pPr marL="548627" indent="-182876">
              <a:spcBef>
                <a:spcPts val="0"/>
              </a:spcBef>
              <a:spcAft>
                <a:spcPts val="900"/>
              </a:spcAft>
              <a:buClr>
                <a:schemeClr val="accent1"/>
              </a:buClr>
              <a:defRPr sz="1600" spc="-30">
                <a:solidFill>
                  <a:schemeClr val="tx1">
                    <a:lumMod val="85000"/>
                    <a:lumOff val="15000"/>
                  </a:schemeClr>
                </a:solidFill>
                <a:latin typeface="Arial"/>
                <a:cs typeface="Arial"/>
              </a:defRPr>
            </a:lvl3pPr>
            <a:lvl4pPr marL="91438" indent="182876">
              <a:buClr>
                <a:schemeClr val="accent1"/>
              </a:buClr>
              <a:defRPr sz="1200">
                <a:solidFill>
                  <a:schemeClr val="tx1">
                    <a:lumMod val="75000"/>
                    <a:lumOff val="25000"/>
                  </a:schemeClr>
                </a:solidFill>
                <a:latin typeface="Arial"/>
                <a:cs typeface="Arial"/>
              </a:defRPr>
            </a:lvl4pPr>
            <a:lvl5pPr marL="91438" indent="182876">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7"/>
            <a:ext cx="8238066" cy="2954867"/>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19345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onclusion">
    <p:bg>
      <p:bgRef idx="1001">
        <a:schemeClr val="bg1"/>
      </p:bgRef>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630709" y="3377070"/>
            <a:ext cx="6073754" cy="301323"/>
          </a:xfrm>
          <a:prstGeom prst="rect">
            <a:avLst/>
          </a:prstGeom>
        </p:spPr>
        <p:txBody>
          <a:bodyPr/>
          <a:lstStyle>
            <a:lvl1pPr marL="0" indent="0">
              <a:buNone/>
              <a:defRPr sz="1499" baseline="0">
                <a:solidFill>
                  <a:schemeClr val="bg2"/>
                </a:solidFill>
                <a:latin typeface="Arial" charset="0"/>
                <a:ea typeface="Arial" charset="0"/>
                <a:cs typeface="Arial" charset="0"/>
              </a:defRPr>
            </a:lvl1pPr>
            <a:lvl2pPr marL="342591" indent="0">
              <a:buNone/>
              <a:defRPr>
                <a:latin typeface="Arial" charset="0"/>
                <a:ea typeface="Arial" charset="0"/>
                <a:cs typeface="Arial" charset="0"/>
              </a:defRPr>
            </a:lvl2pPr>
            <a:lvl3pPr marL="685183" indent="0">
              <a:buNone/>
              <a:defRPr>
                <a:latin typeface="Arial" charset="0"/>
                <a:ea typeface="Arial" charset="0"/>
                <a:cs typeface="Arial" charset="0"/>
              </a:defRPr>
            </a:lvl3pPr>
            <a:lvl4pPr marL="1027774" indent="0">
              <a:buNone/>
              <a:defRPr>
                <a:latin typeface="Arial" charset="0"/>
                <a:ea typeface="Arial" charset="0"/>
                <a:cs typeface="Arial" charset="0"/>
              </a:defRPr>
            </a:lvl4pPr>
            <a:lvl5pPr marL="1370366" indent="0">
              <a:buNone/>
              <a:defRPr>
                <a:latin typeface="Arial" charset="0"/>
                <a:ea typeface="Arial" charset="0"/>
                <a:cs typeface="Arial" charset="0"/>
              </a:defRPr>
            </a:lvl5pPr>
          </a:lstStyle>
          <a:p>
            <a:pPr lvl="0"/>
            <a:r>
              <a:rPr lang="en-US" dirty="0"/>
              <a:t>Presenter Name &amp;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829" y="598286"/>
            <a:ext cx="1308559" cy="1308559"/>
          </a:xfrm>
          <a:prstGeom prst="rect">
            <a:avLst/>
          </a:prstGeom>
        </p:spPr>
      </p:pic>
      <p:sp>
        <p:nvSpPr>
          <p:cNvPr id="13" name="Title 1"/>
          <p:cNvSpPr txBox="1">
            <a:spLocks/>
          </p:cNvSpPr>
          <p:nvPr userDrawn="1"/>
        </p:nvSpPr>
        <p:spPr>
          <a:xfrm>
            <a:off x="609097" y="1969086"/>
            <a:ext cx="6074264" cy="1190424"/>
          </a:xfrm>
          <a:prstGeom prst="rect">
            <a:avLst/>
          </a:prstGeom>
        </p:spPr>
        <p:txBody>
          <a:bodyPr anchor="ctr"/>
          <a:lstStyle>
            <a:lvl1pPr marL="0" indent="0" algn="l" defTabSz="685800" rtl="0" eaLnBrk="1" latinLnBrk="0" hangingPunct="1">
              <a:lnSpc>
                <a:spcPct val="85000"/>
              </a:lnSpc>
              <a:spcBef>
                <a:spcPct val="0"/>
              </a:spcBef>
              <a:buFont typeface="Arial" charset="0"/>
              <a:buNone/>
              <a:defRPr sz="4500" b="1" i="0" kern="3500" spc="-150" baseline="0">
                <a:solidFill>
                  <a:schemeClr val="bg2"/>
                </a:solidFill>
                <a:latin typeface="Arial Bold" charset="0"/>
                <a:ea typeface="Arial Bold" charset="0"/>
                <a:cs typeface="Arial Bold" charset="0"/>
              </a:defRPr>
            </a:lvl1pPr>
          </a:lstStyle>
          <a:p>
            <a:pPr marL="0" marR="0" lvl="0" indent="0" algn="l" defTabSz="685183" rtl="0" eaLnBrk="1" fontAlgn="auto" latinLnBrk="0" hangingPunct="1">
              <a:lnSpc>
                <a:spcPct val="85000"/>
              </a:lnSpc>
              <a:spcBef>
                <a:spcPct val="0"/>
              </a:spcBef>
              <a:spcAft>
                <a:spcPts val="0"/>
              </a:spcAft>
              <a:buClrTx/>
              <a:buSzTx/>
              <a:buFont typeface="Arial" charset="0"/>
              <a:buNone/>
              <a:tabLst/>
              <a:defRPr/>
            </a:pPr>
            <a:r>
              <a:rPr kumimoji="0" lang="en-US" sz="6594" b="1" i="0" u="none" strike="noStrike" kern="3500" cap="none" spc="-250" normalizeH="0" baseline="0" noProof="0">
                <a:ln>
                  <a:noFill/>
                </a:ln>
                <a:solidFill>
                  <a:srgbClr val="FFFFFF"/>
                </a:solidFill>
                <a:effectLst/>
                <a:uLnTx/>
                <a:uFillTx/>
                <a:latin typeface="Arial Bold" charset="0"/>
                <a:cs typeface="Arial Bold" charset="0"/>
              </a:rPr>
              <a:t>Thank You.</a:t>
            </a:r>
            <a:endParaRPr kumimoji="0" lang="en-US" sz="6594" b="1" i="0" u="none" strike="noStrike" kern="3500" cap="none" spc="-250" normalizeH="0" baseline="0" noProof="0" dirty="0">
              <a:ln>
                <a:noFill/>
              </a:ln>
              <a:solidFill>
                <a:srgbClr val="FFFFFF"/>
              </a:solidFill>
              <a:effectLst/>
              <a:uLnTx/>
              <a:uFillTx/>
              <a:latin typeface="Arial Bold" charset="0"/>
              <a:cs typeface="Arial Bold" charset="0"/>
            </a:endParaRPr>
          </a:p>
        </p:txBody>
      </p:sp>
    </p:spTree>
    <p:extLst>
      <p:ext uri="{BB962C8B-B14F-4D97-AF65-F5344CB8AC3E}">
        <p14:creationId xmlns:p14="http://schemas.microsoft.com/office/powerpoint/2010/main" val="4214119363"/>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ext and Chart Layout2">
    <p:spTree>
      <p:nvGrpSpPr>
        <p:cNvPr id="1" name=""/>
        <p:cNvGrpSpPr/>
        <p:nvPr/>
      </p:nvGrpSpPr>
      <p:grpSpPr>
        <a:xfrm>
          <a:off x="0" y="0"/>
          <a:ext cx="0" cy="0"/>
          <a:chOff x="0" y="0"/>
          <a:chExt cx="0" cy="0"/>
        </a:xfrm>
      </p:grpSpPr>
      <p:sp>
        <p:nvSpPr>
          <p:cNvPr id="11" name="Rectangle 10"/>
          <p:cNvSpPr/>
          <p:nvPr userDrawn="1"/>
        </p:nvSpPr>
        <p:spPr>
          <a:xfrm>
            <a:off x="0" y="1"/>
            <a:ext cx="6379968" cy="5143500"/>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6" name="Title 1"/>
          <p:cNvSpPr>
            <a:spLocks noGrp="1"/>
          </p:cNvSpPr>
          <p:nvPr>
            <p:ph type="title"/>
          </p:nvPr>
        </p:nvSpPr>
        <p:spPr>
          <a:xfrm>
            <a:off x="6463508" y="924683"/>
            <a:ext cx="2598276" cy="2365325"/>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8" name="Text Placeholder 6"/>
          <p:cNvSpPr>
            <a:spLocks noGrp="1"/>
          </p:cNvSpPr>
          <p:nvPr>
            <p:ph type="body" sz="quarter" idx="11"/>
          </p:nvPr>
        </p:nvSpPr>
        <p:spPr>
          <a:xfrm>
            <a:off x="6463508" y="3340041"/>
            <a:ext cx="2598276" cy="1513806"/>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9" name="Text Placeholder 2"/>
          <p:cNvSpPr>
            <a:spLocks noGrp="1"/>
          </p:cNvSpPr>
          <p:nvPr>
            <p:ph type="body" sz="quarter" idx="13" hasCustomPrompt="1"/>
          </p:nvPr>
        </p:nvSpPr>
        <p:spPr>
          <a:xfrm>
            <a:off x="166953" y="148162"/>
            <a:ext cx="1958128" cy="826763"/>
          </a:xfrm>
          <a:prstGeom prst="rect">
            <a:avLst/>
          </a:prstGeom>
        </p:spPr>
        <p:txBody>
          <a:bodyPr/>
          <a:lstStyle>
            <a:lvl1pPr marL="0" marR="0" indent="0" algn="ctr"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a:t>
            </a:r>
          </a:p>
        </p:txBody>
      </p:sp>
      <p:sp>
        <p:nvSpPr>
          <p:cNvPr id="7" name="Slide Number Placeholder 17"/>
          <p:cNvSpPr>
            <a:spLocks noGrp="1"/>
          </p:cNvSpPr>
          <p:nvPr>
            <p:ph type="sldNum" sz="quarter" idx="12"/>
          </p:nvPr>
        </p:nvSpPr>
        <p:spPr>
          <a:xfrm>
            <a:off x="8852850" y="4921782"/>
            <a:ext cx="290945" cy="220240"/>
          </a:xfrm>
          <a:prstGeom prst="rect">
            <a:avLst/>
          </a:prstGeom>
          <a:ln>
            <a:noFill/>
          </a:ln>
        </p:spPr>
        <p:txBody>
          <a:bodyPr/>
          <a:lstStyle>
            <a:lvl1pPr algn="ctr">
              <a:defRPr sz="599">
                <a:solidFill>
                  <a:schemeClr val="tx1"/>
                </a:solidFill>
              </a:defRPr>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410430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Text and Chart Layout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99108"/>
          <a:stretch/>
        </p:blipFill>
        <p:spPr>
          <a:xfrm>
            <a:off x="2071" y="1141282"/>
            <a:ext cx="9141722" cy="3709396"/>
          </a:xfrm>
          <a:prstGeom prst="rect">
            <a:avLst/>
          </a:prstGeom>
        </p:spPr>
      </p:pic>
      <p:sp>
        <p:nvSpPr>
          <p:cNvPr id="8" name="Rectangle 7"/>
          <p:cNvSpPr/>
          <p:nvPr userDrawn="1"/>
        </p:nvSpPr>
        <p:spPr>
          <a:xfrm>
            <a:off x="0" y="1141282"/>
            <a:ext cx="9144000" cy="3709397"/>
          </a:xfrm>
          <a:prstGeom prst="rect">
            <a:avLst/>
          </a:prstGeom>
          <a:blipFill dpi="0" rotWithShape="1">
            <a:blip r:embed="rId3"/>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7" name="Slide Number Placeholder 17"/>
          <p:cNvSpPr>
            <a:spLocks noGrp="1"/>
          </p:cNvSpPr>
          <p:nvPr>
            <p:ph type="sldNum" sz="quarter" idx="12"/>
          </p:nvPr>
        </p:nvSpPr>
        <p:spPr>
          <a:xfrm>
            <a:off x="8852850" y="4921782"/>
            <a:ext cx="290945" cy="220240"/>
          </a:xfrm>
          <a:prstGeom prst="rect">
            <a:avLst/>
          </a:prstGeom>
          <a:ln>
            <a:noFill/>
          </a:ln>
        </p:spPr>
        <p:txBody>
          <a:bodyPr/>
          <a:lstStyle>
            <a:lvl1pPr algn="ctr">
              <a:defRPr sz="599"/>
            </a:lvl1pPr>
          </a:lstStyle>
          <a:p>
            <a:fld id="{A34E5796-B6AC-4C80-ACD7-07B1272A6BDB}" type="slidenum">
              <a:rPr lang="en-US" smtClean="0">
                <a:solidFill>
                  <a:prstClr val="black"/>
                </a:solidFill>
              </a:rPr>
              <a:pPr/>
              <a:t>‹#›</a:t>
            </a:fld>
            <a:endParaRPr lang="en-US">
              <a:solidFill>
                <a:prstClr val="black"/>
              </a:solidFill>
            </a:endParaRPr>
          </a:p>
        </p:txBody>
      </p:sp>
      <p:sp>
        <p:nvSpPr>
          <p:cNvPr id="5" name="Title 1"/>
          <p:cNvSpPr>
            <a:spLocks noGrp="1"/>
          </p:cNvSpPr>
          <p:nvPr>
            <p:ph type="title"/>
          </p:nvPr>
        </p:nvSpPr>
        <p:spPr>
          <a:xfrm>
            <a:off x="96799" y="254123"/>
            <a:ext cx="8325842" cy="413535"/>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8"/>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3" name="Text Placeholder 2"/>
          <p:cNvSpPr>
            <a:spLocks noGrp="1"/>
          </p:cNvSpPr>
          <p:nvPr>
            <p:ph type="body" sz="quarter" idx="13" hasCustomPrompt="1"/>
          </p:nvPr>
        </p:nvSpPr>
        <p:spPr>
          <a:xfrm>
            <a:off x="247651" y="4245647"/>
            <a:ext cx="8605838" cy="605030"/>
          </a:xfrm>
          <a:prstGeom prst="rect">
            <a:avLst/>
          </a:prstGeom>
        </p:spPr>
        <p:txBody>
          <a:bodyPr/>
          <a:lstStyle>
            <a:lvl1pPr marL="0" marR="0" indent="0" algn="ctr"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Tree>
    <p:extLst>
      <p:ext uri="{BB962C8B-B14F-4D97-AF65-F5344CB8AC3E}">
        <p14:creationId xmlns:p14="http://schemas.microsoft.com/office/powerpoint/2010/main" val="4175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247651" y="4245647"/>
            <a:ext cx="8605838" cy="605030"/>
          </a:xfrm>
          <a:prstGeom prst="rect">
            <a:avLst/>
          </a:prstGeom>
        </p:spPr>
        <p:txBody>
          <a:bodyPr/>
          <a:lstStyle>
            <a:lvl1pPr marL="0" marR="0" indent="0" algn="ctr"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8"/>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3903582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6455802" y="1368503"/>
            <a:ext cx="2059548" cy="955313"/>
          </a:xfrm>
          <a:prstGeom prst="rect">
            <a:avLst/>
          </a:prstGeom>
        </p:spPr>
        <p:txBody>
          <a:bodyPr/>
          <a:lstStyle>
            <a:lvl1pPr marL="0" marR="0" indent="0" algn="just"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77"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77"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a:t>
            </a:r>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8"/>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1565629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a:lstStyle>
            <a:lvl1pPr>
              <a:lnSpc>
                <a:spcPct val="80000"/>
              </a:lnSpc>
              <a:defRPr sz="4796"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38"/>
            <a:ext cx="8229600" cy="979487"/>
          </a:xfrm>
          <a:prstGeom prst="rect">
            <a:avLst/>
          </a:prstGeom>
        </p:spPr>
        <p:txBody>
          <a:bodyPr vert="horz"/>
          <a:lstStyle>
            <a:lvl1pPr marL="0" indent="0" algn="ctr">
              <a:buNone/>
              <a:defRPr sz="1799"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35046206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6"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22" indent="-274067">
              <a:spcBef>
                <a:spcPts val="0"/>
              </a:spcBef>
              <a:spcAft>
                <a:spcPts val="899"/>
              </a:spcAft>
              <a:buClr>
                <a:schemeClr val="accent1"/>
              </a:buClr>
              <a:defRPr sz="1598" spc="-30">
                <a:solidFill>
                  <a:schemeClr val="tx1">
                    <a:lumMod val="85000"/>
                    <a:lumOff val="15000"/>
                  </a:schemeClr>
                </a:solidFill>
                <a:latin typeface="Arial"/>
                <a:cs typeface="Arial"/>
              </a:defRPr>
            </a:lvl2pPr>
            <a:lvl3pPr marL="548132" indent="-182711">
              <a:spcBef>
                <a:spcPts val="0"/>
              </a:spcBef>
              <a:spcAft>
                <a:spcPts val="899"/>
              </a:spcAft>
              <a:buClr>
                <a:schemeClr val="accent1"/>
              </a:buClr>
              <a:defRPr sz="1598" spc="-30">
                <a:solidFill>
                  <a:schemeClr val="tx1">
                    <a:lumMod val="85000"/>
                    <a:lumOff val="15000"/>
                  </a:schemeClr>
                </a:solidFill>
                <a:latin typeface="Arial"/>
                <a:cs typeface="Arial"/>
              </a:defRPr>
            </a:lvl3pPr>
            <a:lvl4pPr marL="91355" indent="182711">
              <a:buClr>
                <a:schemeClr val="accent1"/>
              </a:buClr>
              <a:defRPr sz="1199">
                <a:solidFill>
                  <a:schemeClr val="tx1">
                    <a:lumMod val="75000"/>
                    <a:lumOff val="25000"/>
                  </a:schemeClr>
                </a:solidFill>
                <a:latin typeface="Arial"/>
                <a:cs typeface="Arial"/>
              </a:defRPr>
            </a:lvl4pPr>
            <a:lvl5pPr marL="91355" indent="182711">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69" y="1938867"/>
            <a:ext cx="4021667" cy="2954867"/>
          </a:xfrm>
          <a:prstGeom prst="rect">
            <a:avLst/>
          </a:prstGeom>
        </p:spPr>
        <p:txBody>
          <a:bodyPr vert="horz"/>
          <a:lstStyle>
            <a:lvl1pPr marL="274067" indent="-274067">
              <a:lnSpc>
                <a:spcPts val="2098"/>
              </a:lnSpc>
              <a:spcBef>
                <a:spcPts val="0"/>
              </a:spcBef>
              <a:spcAft>
                <a:spcPts val="599"/>
              </a:spcAft>
              <a:buClr>
                <a:schemeClr val="accent1"/>
              </a:buClr>
              <a:defRPr sz="1598" kern="0" spc="-20"/>
            </a:lvl1pPr>
            <a:lvl2pPr marL="365422" indent="-274067">
              <a:lnSpc>
                <a:spcPts val="2098"/>
              </a:lnSpc>
              <a:spcBef>
                <a:spcPts val="0"/>
              </a:spcBef>
              <a:spcAft>
                <a:spcPts val="599"/>
              </a:spcAft>
              <a:buClr>
                <a:schemeClr val="accent1"/>
              </a:buClr>
              <a:defRPr sz="1598" kern="0" spc="-20"/>
            </a:lvl2pPr>
            <a:lvl3pPr marL="548132" indent="-182711">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23" name="Text Placeholder 2"/>
          <p:cNvSpPr>
            <a:spLocks noGrp="1"/>
          </p:cNvSpPr>
          <p:nvPr>
            <p:ph type="body" sz="quarter" idx="17"/>
          </p:nvPr>
        </p:nvSpPr>
        <p:spPr>
          <a:xfrm>
            <a:off x="4425294"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22" indent="-274067">
              <a:spcBef>
                <a:spcPts val="0"/>
              </a:spcBef>
              <a:spcAft>
                <a:spcPts val="899"/>
              </a:spcAft>
              <a:buClr>
                <a:schemeClr val="accent1"/>
              </a:buClr>
              <a:defRPr sz="1598" spc="-30">
                <a:solidFill>
                  <a:schemeClr val="tx1">
                    <a:lumMod val="85000"/>
                    <a:lumOff val="15000"/>
                  </a:schemeClr>
                </a:solidFill>
                <a:latin typeface="Arial"/>
                <a:cs typeface="Arial"/>
              </a:defRPr>
            </a:lvl2pPr>
            <a:lvl3pPr marL="548132" indent="-182711">
              <a:spcBef>
                <a:spcPts val="0"/>
              </a:spcBef>
              <a:spcAft>
                <a:spcPts val="899"/>
              </a:spcAft>
              <a:buClr>
                <a:schemeClr val="accent1"/>
              </a:buClr>
              <a:defRPr sz="1598" spc="-30">
                <a:solidFill>
                  <a:schemeClr val="tx1">
                    <a:lumMod val="85000"/>
                    <a:lumOff val="15000"/>
                  </a:schemeClr>
                </a:solidFill>
                <a:latin typeface="Arial"/>
                <a:cs typeface="Arial"/>
              </a:defRPr>
            </a:lvl3pPr>
            <a:lvl4pPr marL="91355" indent="182711">
              <a:buClr>
                <a:schemeClr val="accent1"/>
              </a:buClr>
              <a:defRPr sz="1199">
                <a:solidFill>
                  <a:schemeClr val="tx1">
                    <a:lumMod val="75000"/>
                    <a:lumOff val="25000"/>
                  </a:schemeClr>
                </a:solidFill>
                <a:latin typeface="Arial"/>
                <a:cs typeface="Arial"/>
              </a:defRPr>
            </a:lvl4pPr>
            <a:lvl5pPr marL="91355" indent="182711">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4" name="Content Placeholder 18"/>
          <p:cNvSpPr>
            <a:spLocks noGrp="1"/>
          </p:cNvSpPr>
          <p:nvPr>
            <p:ph sz="quarter" idx="18"/>
          </p:nvPr>
        </p:nvSpPr>
        <p:spPr>
          <a:xfrm>
            <a:off x="4428067" y="1938867"/>
            <a:ext cx="4021667" cy="2954867"/>
          </a:xfrm>
          <a:prstGeom prst="rect">
            <a:avLst/>
          </a:prstGeom>
        </p:spPr>
        <p:txBody>
          <a:bodyPr vert="horz"/>
          <a:lstStyle>
            <a:lvl1pPr marL="274067" indent="-274067">
              <a:lnSpc>
                <a:spcPts val="2098"/>
              </a:lnSpc>
              <a:spcBef>
                <a:spcPts val="0"/>
              </a:spcBef>
              <a:spcAft>
                <a:spcPts val="599"/>
              </a:spcAft>
              <a:buClr>
                <a:schemeClr val="accent1"/>
              </a:buClr>
              <a:defRPr sz="1598" kern="0" spc="-20"/>
            </a:lvl1pPr>
            <a:lvl2pPr marL="365422" indent="-274067">
              <a:lnSpc>
                <a:spcPts val="2098"/>
              </a:lnSpc>
              <a:spcBef>
                <a:spcPts val="0"/>
              </a:spcBef>
              <a:spcAft>
                <a:spcPts val="599"/>
              </a:spcAft>
              <a:buClr>
                <a:schemeClr val="accent1"/>
              </a:buClr>
              <a:defRPr sz="1598" kern="0" spc="-20"/>
            </a:lvl2pPr>
            <a:lvl3pPr marL="548132" indent="-182711">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8" name="Title 1"/>
          <p:cNvSpPr>
            <a:spLocks noGrp="1"/>
          </p:cNvSpPr>
          <p:nvPr>
            <p:ph type="title"/>
          </p:nvPr>
        </p:nvSpPr>
        <p:spPr>
          <a:xfrm>
            <a:off x="96799" y="254124"/>
            <a:ext cx="8325842" cy="887159"/>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9" name="Text Placeholder 6"/>
          <p:cNvSpPr>
            <a:spLocks noGrp="1"/>
          </p:cNvSpPr>
          <p:nvPr>
            <p:ph type="body" sz="quarter" idx="11"/>
          </p:nvPr>
        </p:nvSpPr>
        <p:spPr>
          <a:xfrm>
            <a:off x="96838" y="667658"/>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6791055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6" y="1490135"/>
            <a:ext cx="824344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22" indent="-274067">
              <a:spcBef>
                <a:spcPts val="0"/>
              </a:spcBef>
              <a:spcAft>
                <a:spcPts val="899"/>
              </a:spcAft>
              <a:buClr>
                <a:schemeClr val="accent1"/>
              </a:buClr>
              <a:defRPr sz="1598" spc="-30">
                <a:solidFill>
                  <a:schemeClr val="tx1">
                    <a:lumMod val="85000"/>
                    <a:lumOff val="15000"/>
                  </a:schemeClr>
                </a:solidFill>
                <a:latin typeface="Arial"/>
                <a:cs typeface="Arial"/>
              </a:defRPr>
            </a:lvl2pPr>
            <a:lvl3pPr marL="548132" indent="-182711">
              <a:spcBef>
                <a:spcPts val="0"/>
              </a:spcBef>
              <a:spcAft>
                <a:spcPts val="899"/>
              </a:spcAft>
              <a:buClr>
                <a:schemeClr val="accent1"/>
              </a:buClr>
              <a:defRPr sz="1598" spc="-30">
                <a:solidFill>
                  <a:schemeClr val="tx1">
                    <a:lumMod val="85000"/>
                    <a:lumOff val="15000"/>
                  </a:schemeClr>
                </a:solidFill>
                <a:latin typeface="Arial"/>
                <a:cs typeface="Arial"/>
              </a:defRPr>
            </a:lvl3pPr>
            <a:lvl4pPr marL="91355" indent="182711">
              <a:buClr>
                <a:schemeClr val="accent1"/>
              </a:buClr>
              <a:defRPr sz="1199">
                <a:solidFill>
                  <a:schemeClr val="tx1">
                    <a:lumMod val="75000"/>
                    <a:lumOff val="25000"/>
                  </a:schemeClr>
                </a:solidFill>
                <a:latin typeface="Arial"/>
                <a:cs typeface="Arial"/>
              </a:defRPr>
            </a:lvl4pPr>
            <a:lvl5pPr marL="91355" indent="182711">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67" y="1938867"/>
            <a:ext cx="8238066" cy="2954867"/>
          </a:xfrm>
          <a:prstGeom prst="rect">
            <a:avLst/>
          </a:prstGeom>
        </p:spPr>
        <p:txBody>
          <a:bodyPr vert="horz"/>
          <a:lstStyle>
            <a:lvl1pPr marL="274067" indent="-274067">
              <a:lnSpc>
                <a:spcPts val="2098"/>
              </a:lnSpc>
              <a:spcBef>
                <a:spcPts val="0"/>
              </a:spcBef>
              <a:spcAft>
                <a:spcPts val="599"/>
              </a:spcAft>
              <a:buClr>
                <a:schemeClr val="accent1"/>
              </a:buClr>
              <a:defRPr sz="1598" kern="0" spc="-20"/>
            </a:lvl1pPr>
            <a:lvl2pPr marL="365422" indent="-274067">
              <a:lnSpc>
                <a:spcPts val="2098"/>
              </a:lnSpc>
              <a:spcBef>
                <a:spcPts val="0"/>
              </a:spcBef>
              <a:spcAft>
                <a:spcPts val="599"/>
              </a:spcAft>
              <a:buClr>
                <a:schemeClr val="accent1"/>
              </a:buClr>
              <a:defRPr sz="1598" kern="0" spc="-20"/>
            </a:lvl2pPr>
            <a:lvl3pPr marL="548132" indent="-182711">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58"/>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1018703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20" name="Content Placeholder 18"/>
          <p:cNvSpPr>
            <a:spLocks noGrp="1"/>
          </p:cNvSpPr>
          <p:nvPr>
            <p:ph sz="quarter" idx="16"/>
          </p:nvPr>
        </p:nvSpPr>
        <p:spPr>
          <a:xfrm>
            <a:off x="211667" y="1490134"/>
            <a:ext cx="8238066" cy="3403601"/>
          </a:xfrm>
          <a:prstGeom prst="rect">
            <a:avLst/>
          </a:prstGeom>
        </p:spPr>
        <p:txBody>
          <a:bodyPr vert="horz"/>
          <a:lstStyle>
            <a:lvl1pPr marL="274067" indent="-274067">
              <a:lnSpc>
                <a:spcPts val="2098"/>
              </a:lnSpc>
              <a:spcBef>
                <a:spcPts val="0"/>
              </a:spcBef>
              <a:spcAft>
                <a:spcPts val="599"/>
              </a:spcAft>
              <a:buClr>
                <a:schemeClr val="accent1"/>
              </a:buClr>
              <a:defRPr sz="1598" kern="0" spc="-20"/>
            </a:lvl1pPr>
            <a:lvl2pPr marL="365422" indent="-274067">
              <a:lnSpc>
                <a:spcPts val="2098"/>
              </a:lnSpc>
              <a:spcBef>
                <a:spcPts val="0"/>
              </a:spcBef>
              <a:spcAft>
                <a:spcPts val="599"/>
              </a:spcAft>
              <a:buClr>
                <a:schemeClr val="accent1"/>
              </a:buClr>
              <a:defRPr sz="1598" kern="0" spc="-20"/>
            </a:lvl2pPr>
            <a:lvl3pPr marL="548132" indent="-182711">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58"/>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306162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0"/>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5"/>
            <a:ext cx="5334000" cy="3022810"/>
          </a:xfrm>
          <a:prstGeom prst="rect">
            <a:avLst/>
          </a:prstGeom>
        </p:spPr>
        <p:txBody>
          <a:bodyPr anchor="t"/>
          <a:lstStyle>
            <a:lvl1pPr marL="0" marR="0" indent="0" algn="l" defTabSz="457200" rtl="0" eaLnBrk="1" fontAlgn="auto" latinLnBrk="0" hangingPunct="1">
              <a:lnSpc>
                <a:spcPct val="200000"/>
              </a:lnSpc>
              <a:spcBef>
                <a:spcPts val="0"/>
              </a:spcBef>
              <a:spcAft>
                <a:spcPts val="0"/>
              </a:spcAft>
              <a:buClr>
                <a:schemeClr val="accent3"/>
              </a:buClr>
              <a:buSzTx/>
              <a:buFont typeface="Wingdings" charset="2"/>
              <a:buNone/>
              <a:tabLst/>
              <a:defRPr/>
            </a:lvl1pPr>
            <a:lvl2pPr marL="336042" indent="0">
              <a:buNone/>
              <a:defRPr/>
            </a:lvl2pPr>
            <a:lvl3pPr marL="502920" indent="0">
              <a:buNone/>
              <a:defRPr/>
            </a:lvl3pPr>
            <a:lvl4pPr marL="685800" indent="0">
              <a:buNone/>
              <a:defRPr/>
            </a:lvl4pPr>
            <a:lvl5pPr marL="685800" indent="0">
              <a:buNone/>
              <a:defRPr/>
            </a:lvl5pPr>
          </a:lstStyle>
          <a:p>
            <a:pPr lvl="0"/>
            <a:r>
              <a:rPr lang="en-US" dirty="0"/>
              <a:t>Agenda Line Item 1</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6" y="-8355"/>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64221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ubble Screenshot">
    <p:spTree>
      <p:nvGrpSpPr>
        <p:cNvPr id="1" name=""/>
        <p:cNvGrpSpPr/>
        <p:nvPr/>
      </p:nvGrpSpPr>
      <p:grpSpPr>
        <a:xfrm>
          <a:off x="0" y="0"/>
          <a:ext cx="0" cy="0"/>
          <a:chOff x="0" y="0"/>
          <a:chExt cx="0" cy="0"/>
        </a:xfrm>
      </p:grpSpPr>
      <p:sp>
        <p:nvSpPr>
          <p:cNvPr id="7" name="Rectangle 6"/>
          <p:cNvSpPr/>
          <p:nvPr/>
        </p:nvSpPr>
        <p:spPr>
          <a:xfrm>
            <a:off x="0" y="1141726"/>
            <a:ext cx="9144000" cy="3811275"/>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8" name="Text Placeholder 2"/>
          <p:cNvSpPr>
            <a:spLocks noGrp="1"/>
          </p:cNvSpPr>
          <p:nvPr>
            <p:ph type="body" sz="quarter" idx="11"/>
          </p:nvPr>
        </p:nvSpPr>
        <p:spPr>
          <a:xfrm>
            <a:off x="6196085" y="1312509"/>
            <a:ext cx="2808406" cy="353524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bg1"/>
                </a:solidFill>
                <a:latin typeface="Arial"/>
                <a:cs typeface="Arial"/>
              </a:defRPr>
            </a:lvl1pPr>
            <a:lvl2pPr marL="91355" indent="182711">
              <a:lnSpc>
                <a:spcPts val="1699"/>
              </a:lnSpc>
              <a:spcBef>
                <a:spcPts val="0"/>
              </a:spcBef>
              <a:spcAft>
                <a:spcPts val="300"/>
              </a:spcAft>
              <a:buClr>
                <a:schemeClr val="accent1"/>
              </a:buClr>
              <a:buFont typeface="Arial" panose="020B0604020202020204" pitchFamily="34" charset="0"/>
              <a:buChar char="•"/>
              <a:defRPr sz="1199" spc="-30" baseline="0">
                <a:solidFill>
                  <a:schemeClr val="bg1"/>
                </a:solidFill>
                <a:latin typeface="Arial"/>
                <a:cs typeface="Arial"/>
              </a:defRPr>
            </a:lvl2pPr>
            <a:lvl3pPr marL="91355" indent="182711">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86" indent="171292">
              <a:spcAft>
                <a:spcPts val="300"/>
              </a:spcAft>
              <a:buClr>
                <a:schemeClr val="accent1"/>
              </a:buClr>
              <a:buFont typeface="Arial" panose="020B0604020202020204" pitchFamily="34" charset="0"/>
              <a:buChar char="•"/>
              <a:defRPr sz="1199" spc="-30" baseline="0">
                <a:solidFill>
                  <a:schemeClr val="bg1"/>
                </a:solidFill>
                <a:latin typeface="Arial"/>
                <a:cs typeface="Arial"/>
              </a:defRPr>
            </a:lvl4pPr>
            <a:lvl5pPr marL="456777" indent="228389">
              <a:spcAft>
                <a:spcPts val="300"/>
              </a:spcAft>
              <a:buClr>
                <a:schemeClr val="accent1"/>
              </a:buClr>
              <a:buFont typeface="Arial" panose="020B0604020202020204" pitchFamily="34" charset="0"/>
              <a:buChar char="•"/>
              <a:defRPr sz="1199" spc="-30" baseline="0">
                <a:solidFill>
                  <a:schemeClr val="bg1"/>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pic>
        <p:nvPicPr>
          <p:cNvPr id="512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6290" y="4661857"/>
            <a:ext cx="1498665" cy="28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a:spLocks noGrp="1"/>
          </p:cNvSpPr>
          <p:nvPr>
            <p:ph type="title"/>
          </p:nvPr>
        </p:nvSpPr>
        <p:spPr>
          <a:xfrm>
            <a:off x="96799" y="254124"/>
            <a:ext cx="8325842" cy="887159"/>
          </a:xfrm>
          <a:prstGeom prst="rect">
            <a:avLst/>
          </a:prstGeom>
        </p:spPr>
        <p:txBody>
          <a:bodyPr/>
          <a:lstStyle>
            <a:lvl1pPr marL="0" algn="l" defTabSz="456777"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10" name="Text Placeholder 6"/>
          <p:cNvSpPr>
            <a:spLocks noGrp="1"/>
          </p:cNvSpPr>
          <p:nvPr>
            <p:ph type="body" sz="quarter" idx="12"/>
          </p:nvPr>
        </p:nvSpPr>
        <p:spPr>
          <a:xfrm>
            <a:off x="96838" y="667658"/>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32" indent="0">
              <a:buNone/>
              <a:defRPr lang="en-US" sz="1399" kern="1200" dirty="0" smtClean="0">
                <a:solidFill>
                  <a:schemeClr val="tx1">
                    <a:lumMod val="85000"/>
                    <a:lumOff val="15000"/>
                  </a:schemeClr>
                </a:solidFill>
                <a:latin typeface="+mn-lt"/>
                <a:ea typeface="MS PGothic" pitchFamily="34" charset="-128"/>
                <a:cs typeface="Arial"/>
              </a:defRPr>
            </a:lvl2pPr>
            <a:lvl3pPr marL="502455" indent="0">
              <a:buNone/>
              <a:defRPr lang="en-US" sz="1399" kern="1200" dirty="0" smtClean="0">
                <a:solidFill>
                  <a:schemeClr val="tx1">
                    <a:lumMod val="85000"/>
                    <a:lumOff val="15000"/>
                  </a:schemeClr>
                </a:solidFill>
                <a:latin typeface="+mn-lt"/>
                <a:ea typeface="MS PGothic" pitchFamily="34" charset="-128"/>
                <a:cs typeface="Arial"/>
              </a:defRPr>
            </a:lvl3pPr>
            <a:lvl4pPr marL="685166" indent="0">
              <a:buNone/>
              <a:defRPr lang="en-US" sz="1399" kern="1200" dirty="0" smtClean="0">
                <a:solidFill>
                  <a:schemeClr val="tx1">
                    <a:lumMod val="85000"/>
                    <a:lumOff val="15000"/>
                  </a:schemeClr>
                </a:solidFill>
                <a:latin typeface="+mn-lt"/>
                <a:ea typeface="MS PGothic" pitchFamily="34" charset="-128"/>
                <a:cs typeface="Arial"/>
              </a:defRPr>
            </a:lvl4pPr>
            <a:lvl5pPr marL="685166"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74555030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sights BG 75 - 4 Charts">
    <p:spTree>
      <p:nvGrpSpPr>
        <p:cNvPr id="1" name=""/>
        <p:cNvGrpSpPr/>
        <p:nvPr/>
      </p:nvGrpSpPr>
      <p:grpSpPr>
        <a:xfrm>
          <a:off x="0" y="0"/>
          <a:ext cx="0" cy="0"/>
          <a:chOff x="0" y="0"/>
          <a:chExt cx="0" cy="0"/>
        </a:xfrm>
      </p:grpSpPr>
      <p:sp>
        <p:nvSpPr>
          <p:cNvPr id="10" name="Rectangle 9"/>
          <p:cNvSpPr/>
          <p:nvPr userDrawn="1"/>
        </p:nvSpPr>
        <p:spPr>
          <a:xfrm>
            <a:off x="1" y="1"/>
            <a:ext cx="633719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15" name="Title Placeholder 1"/>
          <p:cNvSpPr>
            <a:spLocks noGrp="1"/>
          </p:cNvSpPr>
          <p:nvPr>
            <p:ph type="title" hasCustomPrompt="1"/>
          </p:nvPr>
        </p:nvSpPr>
        <p:spPr>
          <a:xfrm>
            <a:off x="6497179" y="258672"/>
            <a:ext cx="2468913" cy="742387"/>
          </a:xfrm>
          <a:prstGeom prst="rect">
            <a:avLst/>
          </a:prstGeom>
        </p:spPr>
        <p:txBody>
          <a:bodyPr vert="horz" lIns="91440" tIns="45720" rIns="91440" bIns="45720" rtlCol="0" anchor="t">
            <a:normAutofit/>
          </a:bodyPr>
          <a:lstStyle>
            <a:lvl1pPr>
              <a:defRPr sz="1799"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6495394" y="1028701"/>
            <a:ext cx="2470527" cy="392976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tx1">
                    <a:lumMod val="85000"/>
                    <a:lumOff val="15000"/>
                  </a:schemeClr>
                </a:solidFill>
                <a:latin typeface="Arial"/>
                <a:cs typeface="Arial"/>
              </a:defRPr>
            </a:lvl1pPr>
            <a:lvl2pPr marL="91355" indent="182711">
              <a:lnSpc>
                <a:spcPts val="1699"/>
              </a:lnSpc>
              <a:spcBef>
                <a:spcPts val="0"/>
              </a:spcBef>
              <a:spcAft>
                <a:spcPts val="300"/>
              </a:spcAft>
              <a:buClr>
                <a:schemeClr val="accent1"/>
              </a:buClr>
              <a:buFont typeface="Arial" panose="020B0604020202020204" pitchFamily="34" charset="0"/>
              <a:buChar char="•"/>
              <a:defRPr sz="1199" spc="-30" baseline="0">
                <a:solidFill>
                  <a:schemeClr val="tx1">
                    <a:lumMod val="85000"/>
                    <a:lumOff val="15000"/>
                  </a:schemeClr>
                </a:solidFill>
                <a:latin typeface="Arial"/>
                <a:cs typeface="Arial"/>
              </a:defRPr>
            </a:lvl2pPr>
            <a:lvl3pPr marL="91355" indent="182711">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86" indent="171292">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4pPr>
            <a:lvl5pPr marL="456777" indent="228389">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1" name="Content Placeholder 18"/>
          <p:cNvSpPr>
            <a:spLocks noGrp="1"/>
          </p:cNvSpPr>
          <p:nvPr>
            <p:ph sz="quarter" idx="12" hasCustomPrompt="1"/>
          </p:nvPr>
        </p:nvSpPr>
        <p:spPr>
          <a:xfrm>
            <a:off x="37007" y="861368"/>
            <a:ext cx="3108960" cy="1828801"/>
          </a:xfrm>
          <a:prstGeom prst="rect">
            <a:avLst/>
          </a:prstGeom>
        </p:spPr>
        <p:txBody>
          <a:bodyPr vert="horz"/>
          <a:lstStyle>
            <a:lvl1pPr marL="0" indent="0">
              <a:buNone/>
              <a:defRPr sz="1099" spc="0">
                <a:solidFill>
                  <a:srgbClr val="FFFFFF"/>
                </a:solidFill>
                <a:latin typeface="Arial"/>
                <a:cs typeface="Arial"/>
              </a:defRPr>
            </a:lvl1pPr>
            <a:lvl2pPr marL="0" indent="-182711">
              <a:buFont typeface="Arial"/>
              <a:buChar char="•"/>
              <a:defRPr sz="1598" spc="-50">
                <a:solidFill>
                  <a:srgbClr val="FFFFFF"/>
                </a:solidFill>
                <a:latin typeface="Arial"/>
                <a:cs typeface="Arial"/>
              </a:defRPr>
            </a:lvl2pPr>
            <a:lvl3pPr marL="411100">
              <a:spcBef>
                <a:spcPts val="400"/>
              </a:spcBef>
              <a:defRPr sz="1598" spc="-50">
                <a:solidFill>
                  <a:srgbClr val="FFFFFF"/>
                </a:solidFill>
                <a:latin typeface="Arial"/>
                <a:cs typeface="Arial"/>
              </a:defRPr>
            </a:lvl3pPr>
            <a:lvl4pPr marL="502455" indent="-228389">
              <a:buFont typeface="Arial" panose="020B0604020202020204" pitchFamily="34" charset="0"/>
              <a:buChar char="•"/>
              <a:defRPr lang="en-US" sz="1598" kern="1200" spc="-50" dirty="0" smtClean="0">
                <a:solidFill>
                  <a:srgbClr val="FFFFFF"/>
                </a:solidFill>
                <a:latin typeface="Arial"/>
                <a:ea typeface="+mn-ea"/>
                <a:cs typeface="Arial"/>
              </a:defRPr>
            </a:lvl4pPr>
            <a:lvl5pPr marL="593810" indent="-228389">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33" name="Slide Number Placeholder 17"/>
          <p:cNvSpPr txBox="1">
            <a:spLocks/>
          </p:cNvSpPr>
          <p:nvPr userDrawn="1"/>
        </p:nvSpPr>
        <p:spPr>
          <a:xfrm>
            <a:off x="5934219" y="4958464"/>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599" smtClean="0">
                <a:solidFill>
                  <a:prstClr val="white">
                    <a:lumMod val="85000"/>
                  </a:prstClr>
                </a:solidFill>
              </a:rPr>
              <a:pPr algn="r"/>
              <a:t>‹#›</a:t>
            </a:fld>
            <a:endParaRPr lang="en-US" sz="599" dirty="0">
              <a:solidFill>
                <a:prstClr val="white">
                  <a:lumMod val="85000"/>
                </a:prstClr>
              </a:solidFill>
            </a:endParaRPr>
          </a:p>
        </p:txBody>
      </p:sp>
      <p:sp>
        <p:nvSpPr>
          <p:cNvPr id="12" name="Text Placeholder 2"/>
          <p:cNvSpPr>
            <a:spLocks noGrp="1"/>
          </p:cNvSpPr>
          <p:nvPr>
            <p:ph type="body" sz="quarter" idx="13" hasCustomPrompt="1"/>
          </p:nvPr>
        </p:nvSpPr>
        <p:spPr>
          <a:xfrm>
            <a:off x="1137" y="581025"/>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77" indent="0">
              <a:buNone/>
              <a:defRPr sz="1199">
                <a:solidFill>
                  <a:schemeClr val="bg1"/>
                </a:solidFill>
              </a:defRPr>
            </a:lvl2pPr>
            <a:lvl3pPr marL="913554" indent="0">
              <a:buNone/>
              <a:defRPr sz="1199">
                <a:solidFill>
                  <a:schemeClr val="bg1"/>
                </a:solidFill>
              </a:defRPr>
            </a:lvl3pPr>
            <a:lvl4pPr marL="1370331" indent="0">
              <a:buNone/>
              <a:defRPr sz="1199">
                <a:solidFill>
                  <a:schemeClr val="bg1"/>
                </a:solidFill>
              </a:defRPr>
            </a:lvl4pPr>
            <a:lvl5pPr marL="1827108" indent="0">
              <a:buNone/>
              <a:defRPr sz="1199">
                <a:solidFill>
                  <a:schemeClr val="bg1"/>
                </a:solidFill>
              </a:defRPr>
            </a:lvl5pPr>
          </a:lstStyle>
          <a:p>
            <a:pPr lvl="0"/>
            <a:r>
              <a:rPr lang="en-US" dirty="0"/>
              <a:t>Click To Edit Master Text Styles</a:t>
            </a:r>
          </a:p>
        </p:txBody>
      </p:sp>
      <p:sp>
        <p:nvSpPr>
          <p:cNvPr id="9" name="Content Placeholder 18"/>
          <p:cNvSpPr>
            <a:spLocks noGrp="1"/>
          </p:cNvSpPr>
          <p:nvPr>
            <p:ph sz="quarter" idx="14" hasCustomPrompt="1"/>
          </p:nvPr>
        </p:nvSpPr>
        <p:spPr>
          <a:xfrm>
            <a:off x="3191339" y="861368"/>
            <a:ext cx="3108960" cy="1828801"/>
          </a:xfrm>
          <a:prstGeom prst="rect">
            <a:avLst/>
          </a:prstGeom>
        </p:spPr>
        <p:txBody>
          <a:bodyPr vert="horz"/>
          <a:lstStyle>
            <a:lvl1pPr marL="0" indent="0">
              <a:buNone/>
              <a:defRPr lang="en-US" sz="1099" kern="1200" spc="0" baseline="0" dirty="0" smtClean="0">
                <a:solidFill>
                  <a:srgbClr val="FFFFFF"/>
                </a:solidFill>
                <a:latin typeface="Arial"/>
                <a:ea typeface="+mn-ea"/>
                <a:cs typeface="Arial"/>
              </a:defRPr>
            </a:lvl1pPr>
            <a:lvl2pPr marL="0" indent="-182711">
              <a:buFont typeface="Arial"/>
              <a:buChar char="•"/>
              <a:defRPr sz="1598" spc="-50">
                <a:solidFill>
                  <a:srgbClr val="FFFFFF"/>
                </a:solidFill>
                <a:latin typeface="Arial"/>
                <a:cs typeface="Arial"/>
              </a:defRPr>
            </a:lvl2pPr>
            <a:lvl3pPr marL="411100">
              <a:spcBef>
                <a:spcPts val="400"/>
              </a:spcBef>
              <a:defRPr sz="1598" spc="-50">
                <a:solidFill>
                  <a:srgbClr val="FFFFFF"/>
                </a:solidFill>
                <a:latin typeface="Arial"/>
                <a:cs typeface="Arial"/>
              </a:defRPr>
            </a:lvl3pPr>
            <a:lvl4pPr marL="502455" indent="-228389">
              <a:buFont typeface="Arial" panose="020B0604020202020204" pitchFamily="34" charset="0"/>
              <a:buChar char="•"/>
              <a:defRPr lang="en-US" sz="1598" kern="1200" spc="-50" dirty="0" smtClean="0">
                <a:solidFill>
                  <a:srgbClr val="FFFFFF"/>
                </a:solidFill>
                <a:latin typeface="Arial"/>
                <a:ea typeface="+mn-ea"/>
                <a:cs typeface="Arial"/>
              </a:defRPr>
            </a:lvl4pPr>
            <a:lvl5pPr marL="593810" indent="-228389">
              <a:buFont typeface="Arial"/>
              <a:buChar char="•"/>
              <a:defRPr sz="1399" spc="-10">
                <a:solidFill>
                  <a:schemeClr val="tx1">
                    <a:lumMod val="85000"/>
                    <a:lumOff val="15000"/>
                  </a:schemeClr>
                </a:solidFill>
                <a:latin typeface="Arial"/>
                <a:cs typeface="Arial"/>
              </a:defRPr>
            </a:lvl5pPr>
          </a:lstStyle>
          <a:p>
            <a:pPr marL="0" lvl="0" indent="0" algn="l" defTabSz="456777" rtl="0" eaLnBrk="1" latinLnBrk="0" hangingPunct="1">
              <a:spcBef>
                <a:spcPct val="20000"/>
              </a:spcBef>
              <a:buFont typeface="Arial"/>
              <a:buNone/>
            </a:pPr>
            <a:r>
              <a:rPr lang="en-US" dirty="0"/>
              <a:t>Click to add chart</a:t>
            </a:r>
          </a:p>
        </p:txBody>
      </p:sp>
      <p:sp>
        <p:nvSpPr>
          <p:cNvPr id="11" name="Content Placeholder 18"/>
          <p:cNvSpPr>
            <a:spLocks noGrp="1"/>
          </p:cNvSpPr>
          <p:nvPr>
            <p:ph sz="quarter" idx="15" hasCustomPrompt="1"/>
          </p:nvPr>
        </p:nvSpPr>
        <p:spPr>
          <a:xfrm>
            <a:off x="37007" y="3084051"/>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11">
              <a:buFont typeface="Arial"/>
              <a:buChar char="•"/>
              <a:defRPr sz="1598" spc="-50">
                <a:solidFill>
                  <a:srgbClr val="FFFFFF"/>
                </a:solidFill>
                <a:latin typeface="Arial"/>
                <a:cs typeface="Arial"/>
              </a:defRPr>
            </a:lvl2pPr>
            <a:lvl3pPr marL="411100">
              <a:spcBef>
                <a:spcPts val="400"/>
              </a:spcBef>
              <a:defRPr sz="1598" spc="-50">
                <a:solidFill>
                  <a:srgbClr val="FFFFFF"/>
                </a:solidFill>
                <a:latin typeface="Arial"/>
                <a:cs typeface="Arial"/>
              </a:defRPr>
            </a:lvl3pPr>
            <a:lvl4pPr marL="502455" indent="-228389">
              <a:buFont typeface="Arial" panose="020B0604020202020204" pitchFamily="34" charset="0"/>
              <a:buChar char="•"/>
              <a:defRPr lang="en-US" sz="1598" kern="1200" spc="-50" dirty="0" smtClean="0">
                <a:solidFill>
                  <a:srgbClr val="FFFFFF"/>
                </a:solidFill>
                <a:latin typeface="Arial"/>
                <a:ea typeface="+mn-ea"/>
                <a:cs typeface="Arial"/>
              </a:defRPr>
            </a:lvl4pPr>
            <a:lvl5pPr marL="593810" indent="-228389">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13" name="Text Placeholder 2"/>
          <p:cNvSpPr>
            <a:spLocks noGrp="1"/>
          </p:cNvSpPr>
          <p:nvPr>
            <p:ph type="body" sz="quarter" idx="16" hasCustomPrompt="1"/>
          </p:nvPr>
        </p:nvSpPr>
        <p:spPr>
          <a:xfrm>
            <a:off x="1137" y="2796883"/>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77" indent="0">
              <a:buNone/>
              <a:defRPr sz="1199">
                <a:solidFill>
                  <a:schemeClr val="bg1"/>
                </a:solidFill>
              </a:defRPr>
            </a:lvl2pPr>
            <a:lvl3pPr marL="913554" indent="0">
              <a:buNone/>
              <a:defRPr sz="1199">
                <a:solidFill>
                  <a:schemeClr val="bg1"/>
                </a:solidFill>
              </a:defRPr>
            </a:lvl3pPr>
            <a:lvl4pPr marL="1370331" indent="0">
              <a:buNone/>
              <a:defRPr sz="1199">
                <a:solidFill>
                  <a:schemeClr val="bg1"/>
                </a:solidFill>
              </a:defRPr>
            </a:lvl4pPr>
            <a:lvl5pPr marL="1827108" indent="0">
              <a:buNone/>
              <a:defRPr sz="1199">
                <a:solidFill>
                  <a:schemeClr val="bg1"/>
                </a:solidFill>
              </a:defRPr>
            </a:lvl5pPr>
          </a:lstStyle>
          <a:p>
            <a:pPr lvl="0"/>
            <a:r>
              <a:rPr lang="en-US" dirty="0"/>
              <a:t>Click To Edit Master Text Styles</a:t>
            </a:r>
          </a:p>
        </p:txBody>
      </p:sp>
      <p:sp>
        <p:nvSpPr>
          <p:cNvPr id="14" name="Content Placeholder 18"/>
          <p:cNvSpPr>
            <a:spLocks noGrp="1"/>
          </p:cNvSpPr>
          <p:nvPr>
            <p:ph sz="quarter" idx="17" hasCustomPrompt="1"/>
          </p:nvPr>
        </p:nvSpPr>
        <p:spPr>
          <a:xfrm>
            <a:off x="3191339" y="3084051"/>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11">
              <a:buFont typeface="Arial"/>
              <a:buChar char="•"/>
              <a:defRPr sz="1598" spc="-50">
                <a:solidFill>
                  <a:srgbClr val="FFFFFF"/>
                </a:solidFill>
                <a:latin typeface="Arial"/>
                <a:cs typeface="Arial"/>
              </a:defRPr>
            </a:lvl2pPr>
            <a:lvl3pPr marL="411100">
              <a:spcBef>
                <a:spcPts val="400"/>
              </a:spcBef>
              <a:defRPr sz="1598" spc="-50">
                <a:solidFill>
                  <a:srgbClr val="FFFFFF"/>
                </a:solidFill>
                <a:latin typeface="Arial"/>
                <a:cs typeface="Arial"/>
              </a:defRPr>
            </a:lvl3pPr>
            <a:lvl4pPr marL="502455" indent="-228389">
              <a:buFont typeface="Arial" panose="020B0604020202020204" pitchFamily="34" charset="0"/>
              <a:buChar char="•"/>
              <a:defRPr lang="en-US" sz="1598" kern="1200" spc="-50" dirty="0" smtClean="0">
                <a:solidFill>
                  <a:srgbClr val="FFFFFF"/>
                </a:solidFill>
                <a:latin typeface="Arial"/>
                <a:ea typeface="+mn-ea"/>
                <a:cs typeface="Arial"/>
              </a:defRPr>
            </a:lvl4pPr>
            <a:lvl5pPr marL="593810" indent="-228389">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Tree>
    <p:extLst>
      <p:ext uri="{BB962C8B-B14F-4D97-AF65-F5344CB8AC3E}">
        <p14:creationId xmlns:p14="http://schemas.microsoft.com/office/powerpoint/2010/main" val="34291307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18" name="Title Placeholder 1"/>
          <p:cNvSpPr>
            <a:spLocks noGrp="1"/>
          </p:cNvSpPr>
          <p:nvPr>
            <p:ph type="title" hasCustomPrompt="1"/>
          </p:nvPr>
        </p:nvSpPr>
        <p:spPr>
          <a:xfrm>
            <a:off x="287870" y="414868"/>
            <a:ext cx="2836333" cy="4258733"/>
          </a:xfrm>
          <a:prstGeom prst="rect">
            <a:avLst/>
          </a:prstGeom>
        </p:spPr>
        <p:txBody>
          <a:bodyPr vert="horz" lIns="91440" tIns="45720" rIns="91440" bIns="45720" rtlCol="0" anchor="ctr">
            <a:noAutofit/>
          </a:bodyPr>
          <a:lstStyle>
            <a:lvl1pPr>
              <a:lnSpc>
                <a:spcPct val="85000"/>
              </a:lnSpc>
              <a:defRPr sz="3996" baseline="0"/>
            </a:lvl1pPr>
          </a:lstStyle>
          <a:p>
            <a:r>
              <a:rPr lang="en-US" dirty="0"/>
              <a:t>Title</a:t>
            </a:r>
          </a:p>
        </p:txBody>
      </p:sp>
      <p:sp>
        <p:nvSpPr>
          <p:cNvPr id="19" name="Text Placeholder 2"/>
          <p:cNvSpPr>
            <a:spLocks noGrp="1"/>
          </p:cNvSpPr>
          <p:nvPr>
            <p:ph type="body" sz="quarter" idx="12" hasCustomPrompt="1"/>
          </p:nvPr>
        </p:nvSpPr>
        <p:spPr>
          <a:xfrm>
            <a:off x="3826935" y="414863"/>
            <a:ext cx="4616435" cy="4250265"/>
          </a:xfrm>
          <a:prstGeom prst="rect">
            <a:avLst/>
          </a:prstGeom>
        </p:spPr>
        <p:txBody>
          <a:bodyPr vert="horz" lIns="0" tIns="0" rIns="0" bIns="0" anchor="ctr"/>
          <a:lstStyle>
            <a:lvl1pPr marL="0" indent="0" algn="l">
              <a:lnSpc>
                <a:spcPts val="3077"/>
              </a:lnSpc>
              <a:spcBef>
                <a:spcPts val="0"/>
              </a:spcBef>
              <a:spcAft>
                <a:spcPts val="1799"/>
              </a:spcAft>
              <a:buClr>
                <a:schemeClr val="accent1"/>
              </a:buClr>
              <a:buNone/>
              <a:defRPr sz="2398" spc="-30" baseline="0">
                <a:solidFill>
                  <a:schemeClr val="tx1"/>
                </a:solidFill>
                <a:latin typeface="Arial"/>
                <a:cs typeface="Arial"/>
              </a:defRPr>
            </a:lvl1pPr>
            <a:lvl2pPr marL="365413" indent="-274059">
              <a:spcBef>
                <a:spcPts val="0"/>
              </a:spcBef>
              <a:spcAft>
                <a:spcPts val="899"/>
              </a:spcAft>
              <a:buClr>
                <a:schemeClr val="accent1"/>
              </a:buClr>
              <a:defRPr sz="1598" spc="-30">
                <a:solidFill>
                  <a:schemeClr val="tx1">
                    <a:lumMod val="85000"/>
                    <a:lumOff val="15000"/>
                  </a:schemeClr>
                </a:solidFill>
                <a:latin typeface="Arial"/>
                <a:cs typeface="Arial"/>
              </a:defRPr>
            </a:lvl2pPr>
            <a:lvl3pPr marL="548120" indent="-182707">
              <a:spcBef>
                <a:spcPts val="0"/>
              </a:spcBef>
              <a:spcAft>
                <a:spcPts val="899"/>
              </a:spcAft>
              <a:buClr>
                <a:schemeClr val="accent1"/>
              </a:buClr>
              <a:defRPr sz="1598" spc="-30">
                <a:solidFill>
                  <a:schemeClr val="tx1">
                    <a:lumMod val="85000"/>
                    <a:lumOff val="15000"/>
                  </a:schemeClr>
                </a:solidFill>
                <a:latin typeface="Arial"/>
                <a:cs typeface="Arial"/>
              </a:defRPr>
            </a:lvl3pPr>
            <a:lvl4pPr marL="91354" indent="182707">
              <a:buClr>
                <a:schemeClr val="accent1"/>
              </a:buClr>
              <a:defRPr sz="1199">
                <a:solidFill>
                  <a:schemeClr val="tx1">
                    <a:lumMod val="75000"/>
                    <a:lumOff val="25000"/>
                  </a:schemeClr>
                </a:solidFill>
                <a:latin typeface="Arial"/>
                <a:cs typeface="Arial"/>
              </a:defRPr>
            </a:lvl4pPr>
            <a:lvl5pPr marL="91354" indent="182707">
              <a:buClr>
                <a:schemeClr val="accent1"/>
              </a:buClr>
              <a:defRPr sz="1199">
                <a:solidFill>
                  <a:schemeClr val="tx1">
                    <a:lumMod val="75000"/>
                    <a:lumOff val="25000"/>
                  </a:schemeClr>
                </a:solidFill>
                <a:latin typeface="Arial"/>
                <a:cs typeface="Arial"/>
              </a:defRPr>
            </a:lvl5pPr>
          </a:lstStyle>
          <a:p>
            <a:pPr lvl="0"/>
            <a:r>
              <a:rPr lang="en-US" dirty="0"/>
              <a:t>Agenda Item 1</a:t>
            </a:r>
          </a:p>
          <a:p>
            <a:pPr lvl="0"/>
            <a:r>
              <a:rPr lang="en-US" dirty="0"/>
              <a:t>Agenda Item 2</a:t>
            </a:r>
          </a:p>
          <a:p>
            <a:pPr lvl="0"/>
            <a:r>
              <a:rPr lang="en-US" dirty="0"/>
              <a:t>Agenda Item 3</a:t>
            </a:r>
          </a:p>
          <a:p>
            <a:pPr lvl="0"/>
            <a:r>
              <a:rPr lang="en-US" dirty="0"/>
              <a:t>Agenda Item 4</a:t>
            </a:r>
          </a:p>
          <a:p>
            <a:pPr lvl="0"/>
            <a:r>
              <a:rPr lang="en-US" dirty="0"/>
              <a:t>Agenda Item 5</a:t>
            </a:r>
          </a:p>
        </p:txBody>
      </p:sp>
      <p:cxnSp>
        <p:nvCxnSpPr>
          <p:cNvPr id="3" name="Straight Connector 2"/>
          <p:cNvCxnSpPr/>
          <p:nvPr/>
        </p:nvCxnSpPr>
        <p:spPr>
          <a:xfrm>
            <a:off x="3420533" y="414867"/>
            <a:ext cx="0" cy="4267201"/>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007"/>
          <a:stretch/>
        </p:blipFill>
        <p:spPr>
          <a:xfrm>
            <a:off x="8451686" y="1"/>
            <a:ext cx="610101" cy="555665"/>
          </a:xfrm>
          <a:prstGeom prst="rect">
            <a:avLst/>
          </a:prstGeom>
        </p:spPr>
      </p:pic>
    </p:spTree>
    <p:extLst>
      <p:ext uri="{BB962C8B-B14F-4D97-AF65-F5344CB8AC3E}">
        <p14:creationId xmlns:p14="http://schemas.microsoft.com/office/powerpoint/2010/main" val="30802445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srcRect l="41568" t="64202"/>
          <a:stretch/>
        </p:blipFill>
        <p:spPr>
          <a:xfrm>
            <a:off x="3801035" y="3301930"/>
            <a:ext cx="5342965" cy="1840458"/>
          </a:xfrm>
          <a:prstGeom prst="rect">
            <a:avLst/>
          </a:prstGeom>
        </p:spPr>
      </p:pic>
      <p:sp>
        <p:nvSpPr>
          <p:cNvPr id="8" name="Rectangle 7"/>
          <p:cNvSpPr/>
          <p:nvPr userDrawn="1"/>
        </p:nvSpPr>
        <p:spPr>
          <a:xfrm>
            <a:off x="3657600" y="3013460"/>
            <a:ext cx="5486400" cy="2130041"/>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Text Placeholder 7"/>
          <p:cNvSpPr>
            <a:spLocks noGrp="1"/>
          </p:cNvSpPr>
          <p:nvPr>
            <p:ph type="body" sz="quarter" idx="14" hasCustomPrompt="1"/>
          </p:nvPr>
        </p:nvSpPr>
        <p:spPr>
          <a:xfrm>
            <a:off x="632711" y="190378"/>
            <a:ext cx="6248537" cy="685800"/>
          </a:xfrm>
          <a:prstGeom prst="rect">
            <a:avLst/>
          </a:prstGeom>
        </p:spPr>
        <p:txBody>
          <a:bodyPr anchor="t"/>
          <a:lstStyle>
            <a:lvl1pPr marL="0" marR="0" indent="0" algn="l" defTabSz="685183" rtl="0" eaLnBrk="1" fontAlgn="auto" latinLnBrk="0" hangingPunct="1">
              <a:lnSpc>
                <a:spcPct val="100000"/>
              </a:lnSpc>
              <a:spcBef>
                <a:spcPts val="749"/>
              </a:spcBef>
              <a:spcAft>
                <a:spcPts val="0"/>
              </a:spcAft>
              <a:buClrTx/>
              <a:buSzTx/>
              <a:buFont typeface="Arial"/>
              <a:buNone/>
              <a:tabLst/>
              <a:defRPr sz="4496" b="1" i="0" kern="3500" spc="-150" baseline="0">
                <a:solidFill>
                  <a:schemeClr val="bg2"/>
                </a:solidFill>
                <a:latin typeface="Arial Bold" charset="0"/>
                <a:ea typeface="Arial Bold" charset="0"/>
                <a:cs typeface="Arial Bold" charset="0"/>
              </a:defRPr>
            </a:lvl1pPr>
          </a:lstStyle>
          <a:p>
            <a:pPr marL="0" marR="0" lvl="0" indent="0" algn="l" defTabSz="685183" rtl="0" eaLnBrk="1" fontAlgn="auto" latinLnBrk="0" hangingPunct="1">
              <a:lnSpc>
                <a:spcPct val="90000"/>
              </a:lnSpc>
              <a:spcBef>
                <a:spcPts val="749"/>
              </a:spcBef>
              <a:spcAft>
                <a:spcPts val="0"/>
              </a:spcAft>
              <a:buClrTx/>
              <a:buSzTx/>
              <a:buFont typeface="Arial"/>
              <a:buNone/>
              <a:tabLst/>
              <a:defRPr/>
            </a:pPr>
            <a:r>
              <a:rPr lang="en-US" dirty="0"/>
              <a:t>Agenda</a:t>
            </a:r>
          </a:p>
        </p:txBody>
      </p:sp>
      <p:sp>
        <p:nvSpPr>
          <p:cNvPr id="5" name="Text Placeholder 4"/>
          <p:cNvSpPr>
            <a:spLocks noGrp="1"/>
          </p:cNvSpPr>
          <p:nvPr>
            <p:ph type="body" sz="quarter" idx="15" hasCustomPrompt="1"/>
          </p:nvPr>
        </p:nvSpPr>
        <p:spPr>
          <a:xfrm>
            <a:off x="632711" y="1260896"/>
            <a:ext cx="6248537" cy="3205369"/>
          </a:xfrm>
          <a:prstGeom prst="rect">
            <a:avLst/>
          </a:prstGeom>
        </p:spPr>
        <p:txBody>
          <a:bodyPr/>
          <a:lstStyle>
            <a:lvl1pPr marL="171296" indent="-171296">
              <a:lnSpc>
                <a:spcPct val="150000"/>
              </a:lnSpc>
              <a:spcAft>
                <a:spcPts val="799"/>
              </a:spcAft>
              <a:buClr>
                <a:schemeClr val="tx1"/>
              </a:buClr>
              <a:buSzPct val="95000"/>
              <a:buFont typeface="Wingdings" charset="2"/>
              <a:buChar char="§"/>
              <a:defRPr sz="1798">
                <a:solidFill>
                  <a:schemeClr val="bg2"/>
                </a:solidFill>
              </a:defRPr>
            </a:lvl1pPr>
            <a:lvl2pPr marL="173580" indent="-173580">
              <a:lnSpc>
                <a:spcPct val="150000"/>
              </a:lnSpc>
              <a:spcBef>
                <a:spcPts val="75"/>
              </a:spcBef>
              <a:spcAft>
                <a:spcPts val="799"/>
              </a:spcAft>
              <a:buClr>
                <a:schemeClr val="tx1"/>
              </a:buClr>
              <a:buSzPct val="95000"/>
              <a:buFont typeface="Wingdings" charset="2"/>
              <a:buChar char="§"/>
              <a:defRPr>
                <a:solidFill>
                  <a:schemeClr val="bg2"/>
                </a:solidFill>
              </a:defRPr>
            </a:lvl2pPr>
            <a:lvl3pPr marL="173580" indent="-173580">
              <a:lnSpc>
                <a:spcPct val="150000"/>
              </a:lnSpc>
              <a:spcBef>
                <a:spcPts val="75"/>
              </a:spcBef>
              <a:spcAft>
                <a:spcPts val="599"/>
              </a:spcAft>
              <a:buClr>
                <a:schemeClr val="tx1"/>
              </a:buClr>
              <a:buSzPct val="95000"/>
              <a:buFont typeface="Wingdings" charset="2"/>
              <a:buChar char="§"/>
              <a:defRPr sz="1798" baseline="0">
                <a:solidFill>
                  <a:schemeClr val="bg2"/>
                </a:solidFill>
              </a:defRPr>
            </a:lvl3pPr>
            <a:lvl4pPr marL="173580" indent="-173580">
              <a:lnSpc>
                <a:spcPct val="150000"/>
              </a:lnSpc>
              <a:spcBef>
                <a:spcPts val="75"/>
              </a:spcBef>
              <a:spcAft>
                <a:spcPts val="599"/>
              </a:spcAft>
              <a:buClr>
                <a:schemeClr val="tx1"/>
              </a:buClr>
              <a:buSzPct val="95000"/>
              <a:buFont typeface="Wingdings" charset="2"/>
              <a:buChar char="§"/>
              <a:defRPr sz="1798">
                <a:solidFill>
                  <a:schemeClr val="bg2"/>
                </a:solidFill>
              </a:defRPr>
            </a:lvl4pPr>
            <a:lvl5pPr marL="173580" indent="-173580">
              <a:lnSpc>
                <a:spcPct val="150000"/>
              </a:lnSpc>
              <a:spcBef>
                <a:spcPts val="75"/>
              </a:spcBef>
              <a:spcAft>
                <a:spcPts val="599"/>
              </a:spcAft>
              <a:buClr>
                <a:schemeClr val="tx1"/>
              </a:buClr>
              <a:buSzPct val="95000"/>
              <a:buFont typeface="Wingdings" charset="2"/>
              <a:buChar char="§"/>
              <a:defRPr sz="1798">
                <a:solidFill>
                  <a:schemeClr val="bg2"/>
                </a:solidFill>
              </a:defRPr>
            </a:lvl5pPr>
          </a:lstStyle>
          <a:p>
            <a:pPr lvl="0"/>
            <a:r>
              <a:rPr lang="en-US" dirty="0"/>
              <a:t>Agenda item 1</a:t>
            </a:r>
          </a:p>
          <a:p>
            <a:pPr lvl="1"/>
            <a:r>
              <a:rPr lang="en-US" dirty="0"/>
              <a:t>Agenda item 2</a:t>
            </a:r>
          </a:p>
          <a:p>
            <a:pPr lvl="2"/>
            <a:r>
              <a:rPr lang="en-US" dirty="0"/>
              <a:t>Agenda item 3</a:t>
            </a:r>
          </a:p>
          <a:p>
            <a:pPr lvl="3"/>
            <a:r>
              <a:rPr lang="en-US" dirty="0"/>
              <a:t>Agenda item 4</a:t>
            </a:r>
          </a:p>
          <a:p>
            <a:pPr lvl="4"/>
            <a:r>
              <a:rPr lang="en-US" dirty="0"/>
              <a:t>Agenda item 5</a:t>
            </a:r>
          </a:p>
        </p:txBody>
      </p:sp>
      <p:sp>
        <p:nvSpPr>
          <p:cNvPr id="10"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spTree>
    <p:extLst>
      <p:ext uri="{BB962C8B-B14F-4D97-AF65-F5344CB8AC3E}">
        <p14:creationId xmlns:p14="http://schemas.microsoft.com/office/powerpoint/2010/main" val="2700632157"/>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Slide">
    <p:bg>
      <p:bgRef idx="1001">
        <a:schemeClr val="bg2"/>
      </p:bgRef>
    </p:bg>
    <p:spTree>
      <p:nvGrpSpPr>
        <p:cNvPr id="1" name=""/>
        <p:cNvGrpSpPr/>
        <p:nvPr/>
      </p:nvGrpSpPr>
      <p:grpSpPr>
        <a:xfrm>
          <a:off x="0" y="0"/>
          <a:ext cx="0" cy="0"/>
          <a:chOff x="0" y="0"/>
          <a:chExt cx="0" cy="0"/>
        </a:xfrm>
      </p:grpSpPr>
      <p:sp>
        <p:nvSpPr>
          <p:cNvPr id="13" name="Rectangle 12"/>
          <p:cNvSpPr/>
          <p:nvPr userDrawn="1"/>
        </p:nvSpPr>
        <p:spPr bwMode="white">
          <a:xfrm>
            <a:off x="-1" y="1059723"/>
            <a:ext cx="9144001" cy="408377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6" name="Text Placeholder 7"/>
          <p:cNvSpPr>
            <a:spLocks noGrp="1"/>
          </p:cNvSpPr>
          <p:nvPr>
            <p:ph type="body" sz="quarter" idx="15" hasCustomPrompt="1"/>
          </p:nvPr>
        </p:nvSpPr>
        <p:spPr>
          <a:xfrm>
            <a:off x="226311" y="1304789"/>
            <a:ext cx="7876679" cy="278657"/>
          </a:xfrm>
          <a:prstGeom prst="rect">
            <a:avLst/>
          </a:prstGeom>
          <a:noFill/>
        </p:spPr>
        <p:txBody>
          <a:bodyPr anchor="t"/>
          <a:lstStyle>
            <a:lvl1pPr marL="0" marR="0" indent="0" algn="l" defTabSz="685183" rtl="0" eaLnBrk="1" fontAlgn="auto" latinLnBrk="0" hangingPunct="1">
              <a:lnSpc>
                <a:spcPct val="85000"/>
              </a:lnSpc>
              <a:spcBef>
                <a:spcPts val="749"/>
              </a:spcBef>
              <a:spcAft>
                <a:spcPts val="0"/>
              </a:spcAft>
              <a:buClrTx/>
              <a:buSzTx/>
              <a:buFont typeface="Arial"/>
              <a:buNone/>
              <a:tabLst/>
              <a:defRPr lang="en-US" sz="1499" b="0" kern="1200" spc="-50" baseline="0" dirty="0" smtClean="0">
                <a:solidFill>
                  <a:schemeClr val="bg2"/>
                </a:solidFill>
                <a:latin typeface="Arial" charset="0"/>
                <a:ea typeface="Arial" charset="0"/>
                <a:cs typeface="Arial" charset="0"/>
              </a:defRPr>
            </a:lvl1pPr>
          </a:lstStyle>
          <a:p>
            <a:pPr marL="0" marR="0" lvl="0" indent="0" algn="l" defTabSz="685183" rtl="0" eaLnBrk="1" fontAlgn="auto" latinLnBrk="0" hangingPunct="1">
              <a:lnSpc>
                <a:spcPct val="90000"/>
              </a:lnSpc>
              <a:spcBef>
                <a:spcPts val="749"/>
              </a:spcBef>
              <a:spcAft>
                <a:spcPts val="0"/>
              </a:spcAft>
              <a:buClrTx/>
              <a:buSzTx/>
              <a:buFont typeface="Arial"/>
              <a:buNone/>
              <a:tabLst/>
              <a:defRPr/>
            </a:pPr>
            <a:r>
              <a:rPr lang="en-US" dirty="0"/>
              <a:t>Section One</a:t>
            </a:r>
          </a:p>
        </p:txBody>
      </p:sp>
      <p:sp>
        <p:nvSpPr>
          <p:cNvPr id="8" name="Text Placeholder 3"/>
          <p:cNvSpPr>
            <a:spLocks noGrp="1"/>
          </p:cNvSpPr>
          <p:nvPr>
            <p:ph type="body" sz="quarter" idx="26" hasCustomPrompt="1"/>
          </p:nvPr>
        </p:nvSpPr>
        <p:spPr>
          <a:xfrm>
            <a:off x="226310" y="1583445"/>
            <a:ext cx="7876681" cy="1169646"/>
          </a:xfrm>
          <a:prstGeom prst="rect">
            <a:avLst/>
          </a:prstGeom>
        </p:spPr>
        <p:txBody>
          <a:bodyPr/>
          <a:lstStyle>
            <a:lvl1pPr marL="0" indent="0" algn="l" defTabSz="685183" rtl="0" eaLnBrk="1" fontAlgn="t" latinLnBrk="0" hangingPunct="1">
              <a:lnSpc>
                <a:spcPts val="4496"/>
              </a:lnSpc>
              <a:spcBef>
                <a:spcPts val="0"/>
              </a:spcBef>
              <a:buFont typeface="Arial"/>
              <a:buNone/>
              <a:defRPr lang="en-US" sz="4496" b="1" kern="3500" spc="-150" baseline="0" dirty="0" smtClean="0">
                <a:solidFill>
                  <a:schemeClr val="bg2"/>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A Section Headline</a:t>
            </a:r>
          </a:p>
          <a:p>
            <a:pPr lvl="0"/>
            <a:r>
              <a:rPr lang="en-US" dirty="0"/>
              <a:t>Spanning Two Lines</a:t>
            </a:r>
          </a:p>
        </p:txBody>
      </p:sp>
      <p:sp>
        <p:nvSpPr>
          <p:cNvPr id="7"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spTree>
    <p:extLst>
      <p:ext uri="{BB962C8B-B14F-4D97-AF65-F5344CB8AC3E}">
        <p14:creationId xmlns:p14="http://schemas.microsoft.com/office/powerpoint/2010/main" val="648065072"/>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Slide Full Blue">
    <p:bg>
      <p:bgRef idx="1001">
        <a:schemeClr val="bg2"/>
      </p:bgRef>
    </p:bg>
    <p:spTree>
      <p:nvGrpSpPr>
        <p:cNvPr id="1" name=""/>
        <p:cNvGrpSpPr/>
        <p:nvPr/>
      </p:nvGrpSpPr>
      <p:grpSpPr>
        <a:xfrm>
          <a:off x="0" y="0"/>
          <a:ext cx="0" cy="0"/>
          <a:chOff x="0" y="0"/>
          <a:chExt cx="0" cy="0"/>
        </a:xfrm>
      </p:grpSpPr>
      <p:sp>
        <p:nvSpPr>
          <p:cNvPr id="13" name="Rectangle 12"/>
          <p:cNvSpPr/>
          <p:nvPr userDrawn="1"/>
        </p:nvSpPr>
        <p:spPr bwMode="white">
          <a:xfrm>
            <a:off x="-1" y="0"/>
            <a:ext cx="9144001"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6" name="Text Placeholder 7"/>
          <p:cNvSpPr>
            <a:spLocks noGrp="1"/>
          </p:cNvSpPr>
          <p:nvPr>
            <p:ph type="body" sz="quarter" idx="15" hasCustomPrompt="1"/>
          </p:nvPr>
        </p:nvSpPr>
        <p:spPr>
          <a:xfrm>
            <a:off x="226311" y="232615"/>
            <a:ext cx="7876679" cy="278657"/>
          </a:xfrm>
          <a:prstGeom prst="rect">
            <a:avLst/>
          </a:prstGeom>
          <a:noFill/>
        </p:spPr>
        <p:txBody>
          <a:bodyPr anchor="t"/>
          <a:lstStyle>
            <a:lvl1pPr marL="0" marR="0" indent="0" algn="l" defTabSz="685183" rtl="0" eaLnBrk="1" fontAlgn="auto" latinLnBrk="0" hangingPunct="1">
              <a:lnSpc>
                <a:spcPct val="85000"/>
              </a:lnSpc>
              <a:spcBef>
                <a:spcPts val="749"/>
              </a:spcBef>
              <a:spcAft>
                <a:spcPts val="0"/>
              </a:spcAft>
              <a:buClrTx/>
              <a:buSzTx/>
              <a:buFont typeface="Arial"/>
              <a:buNone/>
              <a:tabLst/>
              <a:defRPr lang="en-US" sz="1499" b="0" kern="1200" spc="-50" baseline="0" dirty="0" smtClean="0">
                <a:solidFill>
                  <a:schemeClr val="bg2"/>
                </a:solidFill>
                <a:latin typeface="Arial" charset="0"/>
                <a:ea typeface="Arial" charset="0"/>
                <a:cs typeface="Arial" charset="0"/>
              </a:defRPr>
            </a:lvl1pPr>
          </a:lstStyle>
          <a:p>
            <a:pPr marL="0" marR="0" lvl="0" indent="0" algn="l" defTabSz="685183" rtl="0" eaLnBrk="1" fontAlgn="auto" latinLnBrk="0" hangingPunct="1">
              <a:lnSpc>
                <a:spcPct val="90000"/>
              </a:lnSpc>
              <a:spcBef>
                <a:spcPts val="749"/>
              </a:spcBef>
              <a:spcAft>
                <a:spcPts val="0"/>
              </a:spcAft>
              <a:buClrTx/>
              <a:buSzTx/>
              <a:buFont typeface="Arial"/>
              <a:buNone/>
              <a:tabLst/>
              <a:defRPr/>
            </a:pPr>
            <a:r>
              <a:rPr lang="en-US" dirty="0"/>
              <a:t>Section One</a:t>
            </a:r>
          </a:p>
        </p:txBody>
      </p:sp>
      <p:sp>
        <p:nvSpPr>
          <p:cNvPr id="8" name="Text Placeholder 3"/>
          <p:cNvSpPr>
            <a:spLocks noGrp="1"/>
          </p:cNvSpPr>
          <p:nvPr>
            <p:ph type="body" sz="quarter" idx="26" hasCustomPrompt="1"/>
          </p:nvPr>
        </p:nvSpPr>
        <p:spPr>
          <a:xfrm>
            <a:off x="226310" y="511272"/>
            <a:ext cx="7876681" cy="1179114"/>
          </a:xfrm>
          <a:prstGeom prst="rect">
            <a:avLst/>
          </a:prstGeom>
        </p:spPr>
        <p:txBody>
          <a:bodyPr/>
          <a:lstStyle>
            <a:lvl1pPr marL="0" indent="0" algn="l" defTabSz="685183" rtl="0" eaLnBrk="1" fontAlgn="t" latinLnBrk="0" hangingPunct="1">
              <a:lnSpc>
                <a:spcPts val="4496"/>
              </a:lnSpc>
              <a:spcBef>
                <a:spcPts val="0"/>
              </a:spcBef>
              <a:buFont typeface="Arial"/>
              <a:buNone/>
              <a:defRPr lang="en-US" sz="4496" b="1" kern="3500" spc="-150" baseline="0" dirty="0" smtClean="0">
                <a:solidFill>
                  <a:schemeClr val="bg2"/>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A Section Headline</a:t>
            </a:r>
          </a:p>
          <a:p>
            <a:pPr lvl="0"/>
            <a:r>
              <a:rPr lang="en-US" dirty="0"/>
              <a:t>Spanning Two Lines</a:t>
            </a:r>
          </a:p>
        </p:txBody>
      </p:sp>
      <p:sp>
        <p:nvSpPr>
          <p:cNvPr id="7"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8236915" y="195094"/>
            <a:ext cx="685800" cy="685166"/>
          </a:xfrm>
          <a:prstGeom prst="rect">
            <a:avLst/>
          </a:prstGeom>
        </p:spPr>
      </p:pic>
    </p:spTree>
    <p:extLst>
      <p:ext uri="{BB962C8B-B14F-4D97-AF65-F5344CB8AC3E}">
        <p14:creationId xmlns:p14="http://schemas.microsoft.com/office/powerpoint/2010/main" val="3949351021"/>
      </p:ext>
    </p:extLst>
  </p:cSld>
  <p:clrMapOvr>
    <a:overrideClrMapping bg1="dk1" tx1="lt1" bg2="dk2" tx2="lt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Slide Full Gradient Blue">
    <p:bg>
      <p:bgRef idx="1001">
        <a:schemeClr val="bg2"/>
      </p:bgRef>
    </p:bg>
    <p:spTree>
      <p:nvGrpSpPr>
        <p:cNvPr id="1" name=""/>
        <p:cNvGrpSpPr/>
        <p:nvPr/>
      </p:nvGrpSpPr>
      <p:grpSpPr>
        <a:xfrm>
          <a:off x="0" y="0"/>
          <a:ext cx="0" cy="0"/>
          <a:chOff x="0" y="0"/>
          <a:chExt cx="0" cy="0"/>
        </a:xfrm>
      </p:grpSpPr>
      <p:sp>
        <p:nvSpPr>
          <p:cNvPr id="10" name="Rectangle 9"/>
          <p:cNvSpPr/>
          <p:nvPr userDrawn="1"/>
        </p:nvSpPr>
        <p:spPr>
          <a:xfrm>
            <a:off x="-4572" y="-4568"/>
            <a:ext cx="9153144" cy="5152636"/>
          </a:xfrm>
          <a:prstGeom prst="rect">
            <a:avLst/>
          </a:prstGeom>
          <a:gradFill flip="none" rotWithShape="1">
            <a:gsLst>
              <a:gs pos="0">
                <a:srgbClr val="3BB0C9"/>
              </a:gs>
              <a:gs pos="100000">
                <a:srgbClr val="3BB0C9">
                  <a:lumMod val="75000"/>
                </a:srgbClr>
              </a:gs>
            </a:gsLst>
            <a:path path="circle">
              <a:fillToRect l="50000" t="50000" r="50000" b="50000"/>
            </a:path>
            <a:tileRect/>
          </a:gradFill>
          <a:ln w="6350" cap="flat" cmpd="sng" algn="ctr">
            <a:noFill/>
            <a:prstDash val="solid"/>
            <a:miter lim="800000"/>
          </a:ln>
          <a:effectLst/>
        </p:spPr>
        <p:txBody>
          <a:bodyPr rtlCol="0" anchor="ctr"/>
          <a:lstStyle/>
          <a:p>
            <a:pPr marL="0" marR="0" lvl="0" indent="0" algn="ctr" defTabSz="913577"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3BB0C9"/>
              </a:solidFill>
              <a:effectLst/>
              <a:uLnTx/>
              <a:uFillTx/>
              <a:latin typeface="Arial"/>
              <a:ea typeface="+mn-ea"/>
              <a:cs typeface="+mn-cs"/>
            </a:endParaRPr>
          </a:p>
        </p:txBody>
      </p:sp>
      <p:sp>
        <p:nvSpPr>
          <p:cNvPr id="6" name="Text Placeholder 7"/>
          <p:cNvSpPr>
            <a:spLocks noGrp="1"/>
          </p:cNvSpPr>
          <p:nvPr>
            <p:ph type="body" sz="quarter" idx="15" hasCustomPrompt="1"/>
          </p:nvPr>
        </p:nvSpPr>
        <p:spPr>
          <a:xfrm>
            <a:off x="226311" y="232615"/>
            <a:ext cx="7876679" cy="278657"/>
          </a:xfrm>
          <a:prstGeom prst="rect">
            <a:avLst/>
          </a:prstGeom>
          <a:noFill/>
        </p:spPr>
        <p:txBody>
          <a:bodyPr anchor="t"/>
          <a:lstStyle>
            <a:lvl1pPr marL="0" marR="0" indent="0" algn="l" defTabSz="685183" rtl="0" eaLnBrk="1" fontAlgn="auto" latinLnBrk="0" hangingPunct="1">
              <a:lnSpc>
                <a:spcPct val="85000"/>
              </a:lnSpc>
              <a:spcBef>
                <a:spcPts val="749"/>
              </a:spcBef>
              <a:spcAft>
                <a:spcPts val="0"/>
              </a:spcAft>
              <a:buClrTx/>
              <a:buSzTx/>
              <a:buFont typeface="Arial"/>
              <a:buNone/>
              <a:tabLst/>
              <a:defRPr lang="en-US" sz="1499" b="0" kern="1200" spc="-50" baseline="0" dirty="0" smtClean="0">
                <a:solidFill>
                  <a:schemeClr val="bg2"/>
                </a:solidFill>
                <a:latin typeface="Arial" charset="0"/>
                <a:ea typeface="Arial" charset="0"/>
                <a:cs typeface="Arial" charset="0"/>
              </a:defRPr>
            </a:lvl1pPr>
          </a:lstStyle>
          <a:p>
            <a:pPr marL="0" marR="0" lvl="0" indent="0" algn="l" defTabSz="685183" rtl="0" eaLnBrk="1" fontAlgn="auto" latinLnBrk="0" hangingPunct="1">
              <a:lnSpc>
                <a:spcPct val="90000"/>
              </a:lnSpc>
              <a:spcBef>
                <a:spcPts val="749"/>
              </a:spcBef>
              <a:spcAft>
                <a:spcPts val="0"/>
              </a:spcAft>
              <a:buClrTx/>
              <a:buSzTx/>
              <a:buFont typeface="Arial"/>
              <a:buNone/>
              <a:tabLst/>
              <a:defRPr/>
            </a:pPr>
            <a:r>
              <a:rPr lang="en-US" dirty="0"/>
              <a:t>Section One</a:t>
            </a:r>
          </a:p>
        </p:txBody>
      </p:sp>
      <p:sp>
        <p:nvSpPr>
          <p:cNvPr id="8" name="Text Placeholder 3"/>
          <p:cNvSpPr>
            <a:spLocks noGrp="1"/>
          </p:cNvSpPr>
          <p:nvPr>
            <p:ph type="body" sz="quarter" idx="26" hasCustomPrompt="1"/>
          </p:nvPr>
        </p:nvSpPr>
        <p:spPr>
          <a:xfrm>
            <a:off x="226310" y="511272"/>
            <a:ext cx="7876681" cy="1185328"/>
          </a:xfrm>
          <a:prstGeom prst="rect">
            <a:avLst/>
          </a:prstGeom>
        </p:spPr>
        <p:txBody>
          <a:bodyPr/>
          <a:lstStyle>
            <a:lvl1pPr marL="0" indent="0" algn="l" defTabSz="685183" rtl="0" eaLnBrk="1" fontAlgn="t" latinLnBrk="0" hangingPunct="1">
              <a:lnSpc>
                <a:spcPts val="4496"/>
              </a:lnSpc>
              <a:spcBef>
                <a:spcPts val="0"/>
              </a:spcBef>
              <a:buFont typeface="Arial"/>
              <a:buNone/>
              <a:defRPr lang="en-US" sz="4496" b="1" kern="3500" spc="-150" baseline="0" dirty="0" smtClean="0">
                <a:solidFill>
                  <a:schemeClr val="bg2"/>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A Section Headline</a:t>
            </a:r>
          </a:p>
          <a:p>
            <a:pPr lvl="0"/>
            <a:r>
              <a:rPr lang="en-US" dirty="0"/>
              <a:t>Spanning Two Lines</a:t>
            </a:r>
          </a:p>
        </p:txBody>
      </p:sp>
      <p:sp>
        <p:nvSpPr>
          <p:cNvPr id="7"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8236915" y="195094"/>
            <a:ext cx="685800" cy="685166"/>
          </a:xfrm>
          <a:prstGeom prst="rect">
            <a:avLst/>
          </a:prstGeom>
        </p:spPr>
      </p:pic>
    </p:spTree>
    <p:extLst>
      <p:ext uri="{BB962C8B-B14F-4D97-AF65-F5344CB8AC3E}">
        <p14:creationId xmlns:p14="http://schemas.microsoft.com/office/powerpoint/2010/main" val="3808116863"/>
      </p:ext>
    </p:extLst>
  </p:cSld>
  <p:clrMapOvr>
    <a:overrideClrMapping bg1="dk1" tx1="lt1" bg2="dk2" tx2="lt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Slide Full Gradient White">
    <p:bg>
      <p:bgRef idx="1001">
        <a:schemeClr val="bg2"/>
      </p:bgRef>
    </p:bg>
    <p:spTree>
      <p:nvGrpSpPr>
        <p:cNvPr id="1" name=""/>
        <p:cNvGrpSpPr/>
        <p:nvPr/>
      </p:nvGrpSpPr>
      <p:grpSpPr>
        <a:xfrm>
          <a:off x="0" y="0"/>
          <a:ext cx="0" cy="0"/>
          <a:chOff x="0" y="0"/>
          <a:chExt cx="0" cy="0"/>
        </a:xfrm>
      </p:grpSpPr>
      <p:sp>
        <p:nvSpPr>
          <p:cNvPr id="10" name="Rectangle 9"/>
          <p:cNvSpPr/>
          <p:nvPr userDrawn="1"/>
        </p:nvSpPr>
        <p:spPr>
          <a:xfrm>
            <a:off x="0" y="0"/>
            <a:ext cx="9144000" cy="5143500"/>
          </a:xfrm>
          <a:prstGeom prst="rect">
            <a:avLst/>
          </a:prstGeom>
          <a:gradFill flip="none" rotWithShape="1">
            <a:gsLst>
              <a:gs pos="55000">
                <a:srgbClr val="FFFFFF"/>
              </a:gs>
              <a:gs pos="100000">
                <a:srgbClr val="FFFFFF">
                  <a:lumMod val="85000"/>
                </a:srgbClr>
              </a:gs>
            </a:gsLst>
            <a:path path="circle">
              <a:fillToRect l="50000" t="50000" r="50000" b="50000"/>
            </a:path>
            <a:tileRect/>
          </a:gradFill>
          <a:ln w="6350" cap="flat" cmpd="sng" algn="ctr">
            <a:solidFill>
              <a:srgbClr val="E3E7ED"/>
            </a:solidFill>
            <a:prstDash val="solid"/>
            <a:miter lim="800000"/>
          </a:ln>
          <a:effectLst/>
        </p:spPr>
        <p:txBody>
          <a:bodyPr rtlCol="0" anchor="ctr"/>
          <a:lstStyle/>
          <a:p>
            <a:pPr marL="0" marR="0" lvl="0" indent="0" algn="ctr" defTabSz="913577"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3BB0C9"/>
              </a:solidFill>
              <a:effectLst/>
              <a:uLnTx/>
              <a:uFillTx/>
              <a:latin typeface="Arial"/>
              <a:ea typeface="+mn-ea"/>
              <a:cs typeface="+mn-cs"/>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188326"/>
            <a:ext cx="685800" cy="685800"/>
          </a:xfrm>
          <a:prstGeom prst="rect">
            <a:avLst/>
          </a:prstGeom>
        </p:spPr>
      </p:pic>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3744" y="195095"/>
            <a:ext cx="685800" cy="685800"/>
          </a:xfrm>
          <a:prstGeom prst="rect">
            <a:avLst/>
          </a:prstGeom>
        </p:spPr>
      </p:pic>
      <p:sp>
        <p:nvSpPr>
          <p:cNvPr id="6" name="Text Placeholder 7"/>
          <p:cNvSpPr>
            <a:spLocks noGrp="1"/>
          </p:cNvSpPr>
          <p:nvPr>
            <p:ph type="body" sz="quarter" idx="15" hasCustomPrompt="1"/>
          </p:nvPr>
        </p:nvSpPr>
        <p:spPr>
          <a:xfrm>
            <a:off x="226311" y="232615"/>
            <a:ext cx="7876679" cy="278657"/>
          </a:xfrm>
          <a:prstGeom prst="rect">
            <a:avLst/>
          </a:prstGeom>
          <a:noFill/>
        </p:spPr>
        <p:txBody>
          <a:bodyPr anchor="t"/>
          <a:lstStyle>
            <a:lvl1pPr marL="0" marR="0" indent="0" algn="l" defTabSz="685183" rtl="0" eaLnBrk="1" fontAlgn="auto" latinLnBrk="0" hangingPunct="1">
              <a:lnSpc>
                <a:spcPct val="85000"/>
              </a:lnSpc>
              <a:spcBef>
                <a:spcPts val="749"/>
              </a:spcBef>
              <a:spcAft>
                <a:spcPts val="0"/>
              </a:spcAft>
              <a:buClrTx/>
              <a:buSzTx/>
              <a:buFont typeface="Arial"/>
              <a:buNone/>
              <a:tabLst/>
              <a:defRPr lang="en-US" sz="1499" b="0" kern="1200" spc="-50" baseline="0" dirty="0" smtClean="0">
                <a:solidFill>
                  <a:schemeClr val="bg1"/>
                </a:solidFill>
                <a:latin typeface="Arial" charset="0"/>
                <a:ea typeface="Arial" charset="0"/>
                <a:cs typeface="Arial" charset="0"/>
              </a:defRPr>
            </a:lvl1pPr>
          </a:lstStyle>
          <a:p>
            <a:pPr marL="0" marR="0" lvl="0" indent="0" algn="l" defTabSz="685183" rtl="0" eaLnBrk="1" fontAlgn="auto" latinLnBrk="0" hangingPunct="1">
              <a:lnSpc>
                <a:spcPct val="90000"/>
              </a:lnSpc>
              <a:spcBef>
                <a:spcPts val="749"/>
              </a:spcBef>
              <a:spcAft>
                <a:spcPts val="0"/>
              </a:spcAft>
              <a:buClrTx/>
              <a:buSzTx/>
              <a:buFont typeface="Arial"/>
              <a:buNone/>
              <a:tabLst/>
              <a:defRPr/>
            </a:pPr>
            <a:r>
              <a:rPr lang="en-US" dirty="0"/>
              <a:t>Section One</a:t>
            </a:r>
          </a:p>
        </p:txBody>
      </p:sp>
      <p:sp>
        <p:nvSpPr>
          <p:cNvPr id="8" name="Text Placeholder 3"/>
          <p:cNvSpPr>
            <a:spLocks noGrp="1"/>
          </p:cNvSpPr>
          <p:nvPr>
            <p:ph type="body" sz="quarter" idx="26" hasCustomPrompt="1"/>
          </p:nvPr>
        </p:nvSpPr>
        <p:spPr>
          <a:xfrm>
            <a:off x="226310" y="511271"/>
            <a:ext cx="7876681" cy="1166685"/>
          </a:xfrm>
          <a:prstGeom prst="rect">
            <a:avLst/>
          </a:prstGeom>
        </p:spPr>
        <p:txBody>
          <a:bodyPr/>
          <a:lstStyle>
            <a:lvl1pPr marL="0" indent="0" algn="l" defTabSz="685183" rtl="0" eaLnBrk="1" fontAlgn="t" latinLnBrk="0" hangingPunct="1">
              <a:lnSpc>
                <a:spcPts val="4496"/>
              </a:lnSpc>
              <a:spcBef>
                <a:spcPts val="0"/>
              </a:spcBef>
              <a:buFont typeface="Arial"/>
              <a:buNone/>
              <a:defRPr lang="en-US" sz="4496" b="1" kern="3500" spc="-150" baseline="0" dirty="0" smtClean="0">
                <a:solidFill>
                  <a:schemeClr val="bg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A Section Headline</a:t>
            </a:r>
          </a:p>
          <a:p>
            <a:pPr lvl="0"/>
            <a:r>
              <a:rPr lang="en-US" dirty="0"/>
              <a:t>Spanning Two Lines</a:t>
            </a:r>
          </a:p>
        </p:txBody>
      </p:sp>
      <p:sp>
        <p:nvSpPr>
          <p:cNvPr id="7"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tx2"/>
                </a:solidFill>
              </a:defRPr>
            </a:lvl1pPr>
          </a:lstStyle>
          <a:p>
            <a:fld id="{05B8F0D5-F301-8E40-857B-79C0FA3150AF}" type="slidenum">
              <a:rPr lang="en-US" smtClean="0"/>
              <a:pPr/>
              <a:t>‹#›</a:t>
            </a:fld>
            <a:endParaRPr lang="en-US" dirty="0"/>
          </a:p>
        </p:txBody>
      </p:sp>
    </p:spTree>
    <p:extLst>
      <p:ext uri="{BB962C8B-B14F-4D97-AF65-F5344CB8AC3E}">
        <p14:creationId xmlns:p14="http://schemas.microsoft.com/office/powerpoint/2010/main" val="4115831127"/>
      </p:ext>
    </p:extLst>
  </p:cSld>
  <p:clrMapOvr>
    <a:overrideClrMapping bg1="dk1" tx1="lt1" bg2="dk2" tx2="lt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12" name="Picture Placeholder 11"/>
          <p:cNvSpPr>
            <a:spLocks noGrp="1"/>
          </p:cNvSpPr>
          <p:nvPr>
            <p:ph type="pic" sz="quarter" idx="15" hasCustomPrompt="1"/>
          </p:nvPr>
        </p:nvSpPr>
        <p:spPr>
          <a:xfrm>
            <a:off x="0" y="0"/>
            <a:ext cx="9144000" cy="5147159"/>
          </a:xfrm>
          <a:custGeom>
            <a:avLst/>
            <a:gdLst>
              <a:gd name="connsiteX0" fmla="*/ 8238730 w 9144000"/>
              <a:gd name="connsiteY0" fmla="*/ 188500 h 5151925"/>
              <a:gd name="connsiteX1" fmla="*/ 8238730 w 9144000"/>
              <a:gd name="connsiteY1" fmla="*/ 874935 h 5151925"/>
              <a:gd name="connsiteX2" fmla="*/ 8924530 w 9144000"/>
              <a:gd name="connsiteY2" fmla="*/ 874935 h 5151925"/>
              <a:gd name="connsiteX3" fmla="*/ 8924530 w 9144000"/>
              <a:gd name="connsiteY3" fmla="*/ 188500 h 5151925"/>
              <a:gd name="connsiteX4" fmla="*/ 0 w 9144000"/>
              <a:gd name="connsiteY4" fmla="*/ 0 h 5151925"/>
              <a:gd name="connsiteX5" fmla="*/ 9144000 w 9144000"/>
              <a:gd name="connsiteY5" fmla="*/ 0 h 5151925"/>
              <a:gd name="connsiteX6" fmla="*/ 9144000 w 9144000"/>
              <a:gd name="connsiteY6" fmla="*/ 5151925 h 5151925"/>
              <a:gd name="connsiteX7" fmla="*/ 0 w 9144000"/>
              <a:gd name="connsiteY7" fmla="*/ 5151925 h 515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51925">
                <a:moveTo>
                  <a:pt x="8238730" y="188500"/>
                </a:moveTo>
                <a:lnTo>
                  <a:pt x="8238730" y="874935"/>
                </a:lnTo>
                <a:lnTo>
                  <a:pt x="8924530" y="874935"/>
                </a:lnTo>
                <a:lnTo>
                  <a:pt x="8924530" y="188500"/>
                </a:lnTo>
                <a:close/>
                <a:moveTo>
                  <a:pt x="0" y="0"/>
                </a:moveTo>
                <a:lnTo>
                  <a:pt x="9144000" y="0"/>
                </a:lnTo>
                <a:lnTo>
                  <a:pt x="9144000" y="5151925"/>
                </a:lnTo>
                <a:lnTo>
                  <a:pt x="0" y="5151925"/>
                </a:lnTo>
                <a:close/>
              </a:path>
            </a:pathLst>
          </a:custGeom>
        </p:spPr>
        <p:txBody>
          <a:bodyPr wrap="square" anchor="ctr">
            <a:noAutofit/>
          </a:bodyPr>
          <a:lstStyle>
            <a:lvl1pPr marL="0" indent="0" algn="ctr">
              <a:buNone/>
              <a:defRPr sz="1499">
                <a:solidFill>
                  <a:schemeClr val="bg2"/>
                </a:solidFill>
                <a:latin typeface="Arial" charset="0"/>
                <a:ea typeface="Arial" charset="0"/>
                <a:cs typeface="Arial" charset="0"/>
              </a:defRPr>
            </a:lvl1pPr>
          </a:lstStyle>
          <a:p>
            <a:r>
              <a:rPr lang="en-US" dirty="0"/>
              <a:t>Full page image – option 1</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188326"/>
            <a:ext cx="685800" cy="685800"/>
          </a:xfrm>
          <a:prstGeom prst="rect">
            <a:avLst/>
          </a:prstGeom>
        </p:spPr>
      </p:pic>
    </p:spTree>
    <p:extLst>
      <p:ext uri="{BB962C8B-B14F-4D97-AF65-F5344CB8AC3E}">
        <p14:creationId xmlns:p14="http://schemas.microsoft.com/office/powerpoint/2010/main" val="6741831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Unique Light">
    <p:bg>
      <p:bgRef idx="1001">
        <a:schemeClr val="bg2"/>
      </p:bgRef>
    </p:bg>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bg2"/>
          </a:solidFill>
          <a:ln w="6350" cap="flat" cmpd="sng" algn="ctr">
            <a:solidFill>
              <a:srgbClr val="E3E7ED"/>
            </a:solidFill>
            <a:prstDash val="solid"/>
            <a:miter lim="800000"/>
          </a:ln>
          <a:effectLst/>
        </p:spPr>
        <p:txBody>
          <a:bodyPr rtlCol="0" anchor="ctr"/>
          <a:lstStyle/>
          <a:p>
            <a:pPr marL="0" marR="0" lvl="0" indent="0" algn="ctr" defTabSz="913577"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3BB0C9"/>
              </a:solidFill>
              <a:effectLst/>
              <a:uLnTx/>
              <a:uFillTx/>
              <a:latin typeface="Arial"/>
              <a:ea typeface="+mn-ea"/>
              <a:cs typeface="+mn-cs"/>
            </a:endParaRPr>
          </a:p>
        </p:txBody>
      </p:sp>
      <p:sp>
        <p:nvSpPr>
          <p:cNvPr id="7"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3744" y="195095"/>
            <a:ext cx="685800" cy="685800"/>
          </a:xfrm>
          <a:prstGeom prst="rect">
            <a:avLst/>
          </a:prstGeom>
        </p:spPr>
      </p:pic>
    </p:spTree>
    <p:extLst>
      <p:ext uri="{BB962C8B-B14F-4D97-AF65-F5344CB8AC3E}">
        <p14:creationId xmlns:p14="http://schemas.microsoft.com/office/powerpoint/2010/main" val="608752415"/>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r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449262" y="1504950"/>
            <a:ext cx="6245476" cy="1244932"/>
          </a:xfrm>
          <a:prstGeom prst="rect">
            <a:avLst/>
          </a:prstGeom>
        </p:spPr>
      </p:pic>
      <p:sp>
        <p:nvSpPr>
          <p:cNvPr id="5" name="Rectangle 4"/>
          <p:cNvSpPr/>
          <p:nvPr userDrawn="1"/>
        </p:nvSpPr>
        <p:spPr>
          <a:xfrm>
            <a:off x="0" y="4351863"/>
            <a:ext cx="9144000" cy="82973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6" name="TextBox 5"/>
          <p:cNvSpPr txBox="1"/>
          <p:nvPr userDrawn="1"/>
        </p:nvSpPr>
        <p:spPr>
          <a:xfrm>
            <a:off x="135463" y="4461929"/>
            <a:ext cx="1718736" cy="215444"/>
          </a:xfrm>
          <a:prstGeom prst="rect">
            <a:avLst/>
          </a:prstGeom>
          <a:noFill/>
        </p:spPr>
        <p:txBody>
          <a:bodyPr wrap="square" rtlCol="0">
            <a:spAutoFit/>
          </a:bodyPr>
          <a:lstStyle/>
          <a:p>
            <a:r>
              <a:rPr lang="en-US" sz="800" b="1" kern="0" cap="all" spc="50" dirty="0">
                <a:solidFill>
                  <a:srgbClr val="C00000"/>
                </a:solidFill>
                <a:cs typeface="Arial"/>
              </a:rPr>
              <a:t>PRESENTER</a:t>
            </a:r>
          </a:p>
        </p:txBody>
      </p:sp>
      <p:sp>
        <p:nvSpPr>
          <p:cNvPr id="7" name="Text Placeholder 7"/>
          <p:cNvSpPr>
            <a:spLocks noGrp="1"/>
          </p:cNvSpPr>
          <p:nvPr>
            <p:ph type="body" sz="quarter" idx="15" hasCustomPrompt="1"/>
          </p:nvPr>
        </p:nvSpPr>
        <p:spPr>
          <a:xfrm>
            <a:off x="137160" y="4590288"/>
            <a:ext cx="3090672" cy="553212"/>
          </a:xfrm>
          <a:prstGeom prst="rect">
            <a:avLst/>
          </a:prstGeom>
        </p:spPr>
        <p:txBody>
          <a:bodyPr lIns="91440"/>
          <a:lstStyle>
            <a:lvl1pPr marL="0" indent="0">
              <a:lnSpc>
                <a:spcPct val="100000"/>
              </a:lnSpc>
              <a:spcBef>
                <a:spcPts val="0"/>
              </a:spcBef>
              <a:spcAft>
                <a:spcPts val="300"/>
              </a:spcAft>
              <a:buClr>
                <a:schemeClr val="tx1"/>
              </a:buClr>
              <a:buFontTx/>
              <a:buNone/>
              <a:defRPr sz="700" spc="50" baseline="0">
                <a:latin typeface="Arial" pitchFamily="34" charset="0"/>
                <a:cs typeface="Arial" pitchFamily="34" charset="0"/>
              </a:defRPr>
            </a:lvl1pPr>
            <a:lvl2pPr marL="356616" indent="-173736">
              <a:lnSpc>
                <a:spcPct val="110000"/>
              </a:lnSpc>
              <a:buFont typeface="Arial" pitchFamily="34" charset="0"/>
              <a:buChar char="-"/>
              <a:defRPr sz="1400">
                <a:latin typeface="Arial" pitchFamily="34" charset="0"/>
                <a:cs typeface="Arial" pitchFamily="34" charset="0"/>
              </a:defRPr>
            </a:lvl2pPr>
            <a:lvl3pPr marL="539496" indent="-182880">
              <a:lnSpc>
                <a:spcPct val="110000"/>
              </a:lnSpc>
              <a:defRPr sz="1400">
                <a:latin typeface="Arial" pitchFamily="34" charset="0"/>
                <a:cs typeface="Arial" pitchFamily="34" charset="0"/>
              </a:defRPr>
            </a:lvl3pPr>
            <a:lvl4pPr marL="722376" indent="-182880">
              <a:lnSpc>
                <a:spcPct val="110000"/>
              </a:lnSpc>
              <a:buFont typeface="Arial" pitchFamily="34" charset="0"/>
              <a:buChar char="&gt;"/>
              <a:defRPr sz="1400">
                <a:latin typeface="Arial" pitchFamily="34" charset="0"/>
                <a:cs typeface="Arial" pitchFamily="34" charset="0"/>
              </a:defRPr>
            </a:lvl4pPr>
            <a:lvl5pPr marL="896112" indent="-182880">
              <a:lnSpc>
                <a:spcPct val="110000"/>
              </a:lnSpc>
              <a:buSzPct val="85000"/>
              <a:buFont typeface="Wingdings" pitchFamily="2" charset="2"/>
              <a:buChar char="§"/>
              <a:defRPr sz="1400">
                <a:latin typeface="Arial" pitchFamily="34" charset="0"/>
                <a:cs typeface="Arial" pitchFamily="34" charset="0"/>
              </a:defRPr>
            </a:lvl5pPr>
          </a:lstStyle>
          <a:p>
            <a:pPr lvl="0"/>
            <a:r>
              <a:rPr lang="en-US" dirty="0"/>
              <a:t>First and Last Name</a:t>
            </a:r>
            <a:br>
              <a:rPr lang="en-US" dirty="0"/>
            </a:br>
            <a:r>
              <a:rPr lang="en-US" dirty="0"/>
              <a:t>Name@emailaddress.com</a:t>
            </a:r>
            <a:br>
              <a:rPr lang="en-US" dirty="0"/>
            </a:br>
            <a:r>
              <a:rPr lang="en-US" dirty="0"/>
              <a:t>Month 00, 2014</a:t>
            </a:r>
          </a:p>
        </p:txBody>
      </p:sp>
    </p:spTree>
    <p:extLst>
      <p:ext uri="{BB962C8B-B14F-4D97-AF65-F5344CB8AC3E}">
        <p14:creationId xmlns:p14="http://schemas.microsoft.com/office/powerpoint/2010/main" val="29296711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Unique Dark">
    <p:bg>
      <p:bgRef idx="1001">
        <a:schemeClr val="bg1"/>
      </p:bgRef>
    </p:bg>
    <p:spTree>
      <p:nvGrpSpPr>
        <p:cNvPr id="1" name=""/>
        <p:cNvGrpSpPr/>
        <p:nvPr/>
      </p:nvGrpSpPr>
      <p:grpSpPr>
        <a:xfrm>
          <a:off x="0" y="0"/>
          <a:ext cx="0" cy="0"/>
          <a:chOff x="0" y="0"/>
          <a:chExt cx="0" cy="0"/>
        </a:xfrm>
      </p:grpSpPr>
      <p:sp>
        <p:nvSpPr>
          <p:cNvPr id="7"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3744" y="195095"/>
            <a:ext cx="685800" cy="685800"/>
          </a:xfrm>
          <a:prstGeom prst="rect">
            <a:avLst/>
          </a:prstGeom>
        </p:spPr>
      </p:pic>
    </p:spTree>
    <p:extLst>
      <p:ext uri="{BB962C8B-B14F-4D97-AF65-F5344CB8AC3E}">
        <p14:creationId xmlns:p14="http://schemas.microsoft.com/office/powerpoint/2010/main" val="3033239699"/>
      </p:ext>
    </p:extLst>
  </p:cSld>
  <p:clrMapOvr>
    <a:overrideClrMapping bg1="dk1" tx1="lt1" bg2="dk2" tx2="lt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line / Bullets">
    <p:spTree>
      <p:nvGrpSpPr>
        <p:cNvPr id="1" name=""/>
        <p:cNvGrpSpPr/>
        <p:nvPr/>
      </p:nvGrpSpPr>
      <p:grpSpPr>
        <a:xfrm>
          <a:off x="0" y="0"/>
          <a:ext cx="0" cy="0"/>
          <a:chOff x="0" y="0"/>
          <a:chExt cx="0" cy="0"/>
        </a:xfrm>
      </p:grpSpPr>
      <p:sp>
        <p:nvSpPr>
          <p:cNvPr id="7" name="Text Placeholder 11"/>
          <p:cNvSpPr>
            <a:spLocks noGrp="1"/>
          </p:cNvSpPr>
          <p:nvPr>
            <p:ph type="body" sz="quarter" idx="29"/>
          </p:nvPr>
        </p:nvSpPr>
        <p:spPr>
          <a:xfrm>
            <a:off x="227013" y="1201675"/>
            <a:ext cx="8699501" cy="364016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Tree>
    <p:extLst>
      <p:ext uri="{BB962C8B-B14F-4D97-AF65-F5344CB8AC3E}">
        <p14:creationId xmlns:p14="http://schemas.microsoft.com/office/powerpoint/2010/main" val="13511828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Headline / Subhead / Bullets">
    <p:spTree>
      <p:nvGrpSpPr>
        <p:cNvPr id="1" name=""/>
        <p:cNvGrpSpPr/>
        <p:nvPr/>
      </p:nvGrpSpPr>
      <p:grpSpPr>
        <a:xfrm>
          <a:off x="0" y="0"/>
          <a:ext cx="0" cy="0"/>
          <a:chOff x="0" y="0"/>
          <a:chExt cx="0" cy="0"/>
        </a:xfrm>
      </p:grpSpPr>
      <p:sp>
        <p:nvSpPr>
          <p:cNvPr id="7" name="Text Placeholder 11"/>
          <p:cNvSpPr>
            <a:spLocks noGrp="1"/>
          </p:cNvSpPr>
          <p:nvPr>
            <p:ph type="body" sz="quarter" idx="29"/>
          </p:nvPr>
        </p:nvSpPr>
        <p:spPr>
          <a:xfrm>
            <a:off x="227013" y="1468666"/>
            <a:ext cx="8699501" cy="3373170"/>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226313" y="989742"/>
            <a:ext cx="7792273" cy="263281"/>
          </a:xfrm>
          <a:prstGeom prst="rect">
            <a:avLst/>
          </a:prstGeom>
        </p:spPr>
        <p:txBody>
          <a:bodyPr/>
          <a:lstStyle>
            <a:lvl1pPr marL="0" indent="0" fontAlgn="t">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lvl="0"/>
            <a:r>
              <a:rPr lang="en-US" dirty="0"/>
              <a:t>Subhead One</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Tree>
    <p:extLst>
      <p:ext uri="{BB962C8B-B14F-4D97-AF65-F5344CB8AC3E}">
        <p14:creationId xmlns:p14="http://schemas.microsoft.com/office/powerpoint/2010/main" val="40922855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line / Subhead / Image">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0" y="1617261"/>
            <a:ext cx="9144000" cy="3529898"/>
          </a:xfrm>
          <a:prstGeom prst="rect">
            <a:avLst/>
          </a:prstGeom>
        </p:spPr>
        <p:txBody>
          <a:bodyPr anchor="ctr"/>
          <a:lstStyle>
            <a:lvl1pPr marL="0" indent="0" algn="ctr">
              <a:buNone/>
              <a:defRPr sz="1499">
                <a:solidFill>
                  <a:schemeClr val="bg2"/>
                </a:solidFill>
                <a:latin typeface="Arial" charset="0"/>
                <a:ea typeface="Arial" charset="0"/>
                <a:cs typeface="Arial" charset="0"/>
              </a:defRPr>
            </a:lvl1pPr>
          </a:lstStyle>
          <a:p>
            <a:r>
              <a:rPr lang="en-US" dirty="0"/>
              <a:t>Place photo here</a:t>
            </a:r>
          </a:p>
        </p:txBody>
      </p:sp>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226313" y="989742"/>
            <a:ext cx="7792273" cy="263281"/>
          </a:xfrm>
          <a:prstGeom prst="rect">
            <a:avLst/>
          </a:prstGeom>
        </p:spPr>
        <p:txBody>
          <a:bodyPr/>
          <a:lstStyle>
            <a:lvl1pPr marL="0" indent="0" fontAlgn="t">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lvl="0"/>
            <a:r>
              <a:rPr lang="en-US" dirty="0"/>
              <a:t>Subhead One</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Tree>
    <p:extLst>
      <p:ext uri="{BB962C8B-B14F-4D97-AF65-F5344CB8AC3E}">
        <p14:creationId xmlns:p14="http://schemas.microsoft.com/office/powerpoint/2010/main" val="32549763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line / Subhead / Chart">
    <p:spTree>
      <p:nvGrpSpPr>
        <p:cNvPr id="1" name=""/>
        <p:cNvGrpSpPr/>
        <p:nvPr/>
      </p:nvGrpSpPr>
      <p:grpSpPr>
        <a:xfrm>
          <a:off x="0" y="0"/>
          <a:ext cx="0" cy="0"/>
          <a:chOff x="0" y="0"/>
          <a:chExt cx="0" cy="0"/>
        </a:xfrm>
      </p:grpSpPr>
      <p:sp>
        <p:nvSpPr>
          <p:cNvPr id="7" name="Chart Placeholder 6"/>
          <p:cNvSpPr>
            <a:spLocks noGrp="1"/>
          </p:cNvSpPr>
          <p:nvPr>
            <p:ph type="chart" sz="quarter" idx="29" hasCustomPrompt="1"/>
          </p:nvPr>
        </p:nvSpPr>
        <p:spPr>
          <a:xfrm>
            <a:off x="226312" y="1468665"/>
            <a:ext cx="8700202" cy="3373171"/>
          </a:xfrm>
          <a:prstGeom prst="rect">
            <a:avLst/>
          </a:prstGeom>
        </p:spPr>
        <p:txBody>
          <a:bodyPr anchor="ctr"/>
          <a:lstStyle>
            <a:lvl1pPr marL="0" indent="0" algn="ctr" defTabSz="685183" rtl="0" eaLnBrk="1" latinLnBrk="0" hangingPunct="1">
              <a:lnSpc>
                <a:spcPct val="90000"/>
              </a:lnSpc>
              <a:spcBef>
                <a:spcPts val="749"/>
              </a:spcBef>
              <a:buFont typeface="Arial"/>
              <a:buNone/>
              <a:defRPr lang="en-US" sz="1499" kern="1200" dirty="0">
                <a:solidFill>
                  <a:schemeClr val="accent4">
                    <a:lumMod val="40000"/>
                    <a:lumOff val="60000"/>
                  </a:schemeClr>
                </a:solidFill>
                <a:latin typeface="Arial" charset="0"/>
                <a:ea typeface="Arial" charset="0"/>
                <a:cs typeface="Arial" charset="0"/>
              </a:defRPr>
            </a:lvl1pPr>
          </a:lstStyle>
          <a:p>
            <a:r>
              <a:rPr lang="en-US" dirty="0"/>
              <a:t>Place Chart Here</a:t>
            </a:r>
          </a:p>
        </p:txBody>
      </p:sp>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226313" y="989742"/>
            <a:ext cx="7792273" cy="263281"/>
          </a:xfrm>
          <a:prstGeom prst="rect">
            <a:avLst/>
          </a:prstGeom>
        </p:spPr>
        <p:txBody>
          <a:bodyPr/>
          <a:lstStyle>
            <a:lvl1pPr marL="0" indent="0" fontAlgn="t">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lvl="0"/>
            <a:r>
              <a:rPr lang="en-US" dirty="0"/>
              <a:t>Subhead One</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Tree>
    <p:extLst>
      <p:ext uri="{BB962C8B-B14F-4D97-AF65-F5344CB8AC3E}">
        <p14:creationId xmlns:p14="http://schemas.microsoft.com/office/powerpoint/2010/main" val="37800708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Headline / Chart">
    <p:spTree>
      <p:nvGrpSpPr>
        <p:cNvPr id="1" name=""/>
        <p:cNvGrpSpPr/>
        <p:nvPr/>
      </p:nvGrpSpPr>
      <p:grpSpPr>
        <a:xfrm>
          <a:off x="0" y="0"/>
          <a:ext cx="0" cy="0"/>
          <a:chOff x="0" y="0"/>
          <a:chExt cx="0" cy="0"/>
        </a:xfrm>
      </p:grpSpPr>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
        <p:nvSpPr>
          <p:cNvPr id="7" name="Chart Placeholder 6"/>
          <p:cNvSpPr>
            <a:spLocks noGrp="1"/>
          </p:cNvSpPr>
          <p:nvPr>
            <p:ph type="chart" sz="quarter" idx="29" hasCustomPrompt="1"/>
          </p:nvPr>
        </p:nvSpPr>
        <p:spPr>
          <a:xfrm>
            <a:off x="226312" y="1201676"/>
            <a:ext cx="8700202" cy="3605586"/>
          </a:xfrm>
          <a:prstGeom prst="rect">
            <a:avLst/>
          </a:prstGeom>
        </p:spPr>
        <p:txBody>
          <a:bodyPr anchor="ctr"/>
          <a:lstStyle>
            <a:lvl1pPr marL="0" indent="0" algn="ctr" defTabSz="685183" rtl="0" eaLnBrk="1" latinLnBrk="0" hangingPunct="1">
              <a:lnSpc>
                <a:spcPct val="90000"/>
              </a:lnSpc>
              <a:spcBef>
                <a:spcPts val="749"/>
              </a:spcBef>
              <a:buFont typeface="Arial"/>
              <a:buNone/>
              <a:defRPr lang="en-US" sz="1499" kern="1200" dirty="0">
                <a:solidFill>
                  <a:schemeClr val="accent4">
                    <a:lumMod val="40000"/>
                    <a:lumOff val="60000"/>
                  </a:schemeClr>
                </a:solidFill>
                <a:latin typeface="Arial" charset="0"/>
                <a:ea typeface="Arial" charset="0"/>
                <a:cs typeface="Arial" charset="0"/>
              </a:defRPr>
            </a:lvl1pPr>
          </a:lstStyle>
          <a:p>
            <a:r>
              <a:rPr lang="en-US" dirty="0"/>
              <a:t>Place Chart Here</a:t>
            </a:r>
          </a:p>
        </p:txBody>
      </p:sp>
    </p:spTree>
    <p:extLst>
      <p:ext uri="{BB962C8B-B14F-4D97-AF65-F5344CB8AC3E}">
        <p14:creationId xmlns:p14="http://schemas.microsoft.com/office/powerpoint/2010/main" val="10138662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Headline / Subhead / Two Columns">
    <p:spTree>
      <p:nvGrpSpPr>
        <p:cNvPr id="1" name=""/>
        <p:cNvGrpSpPr/>
        <p:nvPr/>
      </p:nvGrpSpPr>
      <p:grpSpPr>
        <a:xfrm>
          <a:off x="0" y="0"/>
          <a:ext cx="0" cy="0"/>
          <a:chOff x="0" y="0"/>
          <a:chExt cx="0" cy="0"/>
        </a:xfrm>
      </p:grpSpPr>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226313" y="1222297"/>
            <a:ext cx="4197976" cy="263281"/>
          </a:xfrm>
          <a:prstGeom prst="rect">
            <a:avLst/>
          </a:prstGeom>
        </p:spPr>
        <p:txBody>
          <a:bodyPr/>
          <a:lstStyle>
            <a:lvl1pPr marL="0" indent="0" fontAlgn="t">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lvl="0"/>
            <a:r>
              <a:rPr lang="en-US" dirty="0"/>
              <a:t>Subhead One</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
        <p:nvSpPr>
          <p:cNvPr id="12" name="Text Placeholder 11"/>
          <p:cNvSpPr>
            <a:spLocks noGrp="1"/>
          </p:cNvSpPr>
          <p:nvPr>
            <p:ph type="body" sz="quarter" idx="29"/>
          </p:nvPr>
        </p:nvSpPr>
        <p:spPr>
          <a:xfrm>
            <a:off x="227013" y="1595205"/>
            <a:ext cx="4197276"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31" hasCustomPrompt="1"/>
          </p:nvPr>
        </p:nvSpPr>
        <p:spPr>
          <a:xfrm>
            <a:off x="4634204" y="1222275"/>
            <a:ext cx="4200234" cy="263281"/>
          </a:xfrm>
          <a:prstGeom prst="rect">
            <a:avLst/>
          </a:prstGeom>
        </p:spPr>
        <p:txBody>
          <a:bodyPr/>
          <a:lstStyle>
            <a:lvl1pPr marL="0" indent="0">
              <a:buNone/>
              <a:defRPr lang="en-US" sz="1798" kern="1500" spc="-50" baseline="0" dirty="0">
                <a:solidFill>
                  <a:schemeClr val="bg1"/>
                </a:solidFill>
                <a:latin typeface="Arial" charset="0"/>
                <a:ea typeface="Arial" charset="0"/>
                <a:cs typeface="Arial" charset="0"/>
              </a:defRPr>
            </a:lvl1pPr>
          </a:lstStyle>
          <a:p>
            <a:pPr marL="171296" lvl="0" indent="-171296" algn="l" defTabSz="685183" rtl="0" eaLnBrk="1" fontAlgn="t" latinLnBrk="0" hangingPunct="1">
              <a:lnSpc>
                <a:spcPct val="100000"/>
              </a:lnSpc>
              <a:spcBef>
                <a:spcPts val="0"/>
              </a:spcBef>
            </a:pPr>
            <a:r>
              <a:rPr lang="en-US" dirty="0"/>
              <a:t>Subhead Two</a:t>
            </a:r>
          </a:p>
        </p:txBody>
      </p:sp>
      <p:sp>
        <p:nvSpPr>
          <p:cNvPr id="13" name="Text Placeholder 11"/>
          <p:cNvSpPr>
            <a:spLocks noGrp="1"/>
          </p:cNvSpPr>
          <p:nvPr>
            <p:ph type="body" sz="quarter" idx="33"/>
          </p:nvPr>
        </p:nvSpPr>
        <p:spPr>
          <a:xfrm>
            <a:off x="4634205" y="1595205"/>
            <a:ext cx="4200233"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852447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Headline / Subhead and Copy / Chart">
    <p:spTree>
      <p:nvGrpSpPr>
        <p:cNvPr id="1" name=""/>
        <p:cNvGrpSpPr/>
        <p:nvPr/>
      </p:nvGrpSpPr>
      <p:grpSpPr>
        <a:xfrm>
          <a:off x="0" y="0"/>
          <a:ext cx="0" cy="0"/>
          <a:chOff x="0" y="0"/>
          <a:chExt cx="0" cy="0"/>
        </a:xfrm>
      </p:grpSpPr>
      <p:sp>
        <p:nvSpPr>
          <p:cNvPr id="11" name="Text Placeholder 8"/>
          <p:cNvSpPr>
            <a:spLocks noGrp="1"/>
          </p:cNvSpPr>
          <p:nvPr>
            <p:ph type="body" sz="quarter" idx="27" hasCustomPrompt="1"/>
          </p:nvPr>
        </p:nvSpPr>
        <p:spPr>
          <a:xfrm>
            <a:off x="216507" y="1222297"/>
            <a:ext cx="4271345" cy="263281"/>
          </a:xfrm>
          <a:prstGeom prst="rect">
            <a:avLst/>
          </a:prstGeom>
        </p:spPr>
        <p:txBody>
          <a:bodyPr/>
          <a:lstStyle>
            <a:lvl1pPr marL="171296" indent="-171296" algn="l" defTabSz="685183" rtl="0" eaLnBrk="1" fontAlgn="t" latinLnBrk="0" hangingPunct="1">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marL="171296" lvl="0" indent="-171296" algn="l" defTabSz="685183" rtl="0" eaLnBrk="1" fontAlgn="t" latinLnBrk="0" hangingPunct="1">
              <a:lnSpc>
                <a:spcPct val="100000"/>
              </a:lnSpc>
              <a:spcBef>
                <a:spcPts val="0"/>
              </a:spcBef>
            </a:pPr>
            <a:r>
              <a:rPr lang="en-US" dirty="0"/>
              <a:t>Subhead Two</a:t>
            </a:r>
          </a:p>
        </p:txBody>
      </p:sp>
      <p:sp>
        <p:nvSpPr>
          <p:cNvPr id="12" name="Text Placeholder 11"/>
          <p:cNvSpPr>
            <a:spLocks noGrp="1"/>
          </p:cNvSpPr>
          <p:nvPr>
            <p:ph type="body" sz="quarter" idx="29"/>
          </p:nvPr>
        </p:nvSpPr>
        <p:spPr>
          <a:xfrm>
            <a:off x="217207" y="1595205"/>
            <a:ext cx="4270657"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hart Placeholder 7"/>
          <p:cNvSpPr>
            <a:spLocks noGrp="1"/>
          </p:cNvSpPr>
          <p:nvPr>
            <p:ph type="chart" sz="quarter" idx="31" hasCustomPrompt="1"/>
          </p:nvPr>
        </p:nvSpPr>
        <p:spPr>
          <a:xfrm>
            <a:off x="4580776" y="1213872"/>
            <a:ext cx="4344988" cy="3619323"/>
          </a:xfrm>
          <a:prstGeom prst="rect">
            <a:avLst/>
          </a:prstGeom>
        </p:spPr>
        <p:txBody>
          <a:bodyPr anchor="ctr"/>
          <a:lstStyle>
            <a:lvl1pPr marL="0" indent="0" algn="ctr">
              <a:buNone/>
              <a:defRPr>
                <a:solidFill>
                  <a:schemeClr val="bg2"/>
                </a:solidFill>
              </a:defRPr>
            </a:lvl1pPr>
          </a:lstStyle>
          <a:p>
            <a:r>
              <a:rPr lang="en-US" dirty="0"/>
              <a:t>Place Chart Here</a:t>
            </a:r>
          </a:p>
        </p:txBody>
      </p:sp>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Tree>
    <p:extLst>
      <p:ext uri="{BB962C8B-B14F-4D97-AF65-F5344CB8AC3E}">
        <p14:creationId xmlns:p14="http://schemas.microsoft.com/office/powerpoint/2010/main" val="11098196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Headline / Chart / Subhead and Copy">
    <p:spTree>
      <p:nvGrpSpPr>
        <p:cNvPr id="1" name=""/>
        <p:cNvGrpSpPr/>
        <p:nvPr/>
      </p:nvGrpSpPr>
      <p:grpSpPr>
        <a:xfrm>
          <a:off x="0" y="0"/>
          <a:ext cx="0" cy="0"/>
          <a:chOff x="0" y="0"/>
          <a:chExt cx="0" cy="0"/>
        </a:xfrm>
      </p:grpSpPr>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4580076" y="1222297"/>
            <a:ext cx="4345688" cy="263281"/>
          </a:xfrm>
          <a:prstGeom prst="rect">
            <a:avLst/>
          </a:prstGeom>
        </p:spPr>
        <p:txBody>
          <a:bodyPr/>
          <a:lstStyle>
            <a:lvl1pPr marL="171296" indent="-171296" algn="l" defTabSz="685183" rtl="0" eaLnBrk="1" fontAlgn="t" latinLnBrk="0" hangingPunct="1">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marL="171296" lvl="0" indent="-171296" algn="l" defTabSz="685183" rtl="0" eaLnBrk="1" fontAlgn="t" latinLnBrk="0" hangingPunct="1">
              <a:lnSpc>
                <a:spcPct val="100000"/>
              </a:lnSpc>
              <a:spcBef>
                <a:spcPts val="0"/>
              </a:spcBef>
            </a:pPr>
            <a:r>
              <a:rPr lang="en-US" dirty="0"/>
              <a:t>Subhead Two</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
        <p:nvSpPr>
          <p:cNvPr id="12" name="Text Placeholder 11"/>
          <p:cNvSpPr>
            <a:spLocks noGrp="1"/>
          </p:cNvSpPr>
          <p:nvPr>
            <p:ph type="body" sz="quarter" idx="29"/>
          </p:nvPr>
        </p:nvSpPr>
        <p:spPr>
          <a:xfrm>
            <a:off x="4580776" y="1595205"/>
            <a:ext cx="4344988"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hart Placeholder 7"/>
          <p:cNvSpPr>
            <a:spLocks noGrp="1"/>
          </p:cNvSpPr>
          <p:nvPr>
            <p:ph type="chart" sz="quarter" idx="30" hasCustomPrompt="1"/>
          </p:nvPr>
        </p:nvSpPr>
        <p:spPr>
          <a:xfrm>
            <a:off x="226311" y="1222831"/>
            <a:ext cx="4261552" cy="3619323"/>
          </a:xfrm>
          <a:prstGeom prst="rect">
            <a:avLst/>
          </a:prstGeom>
        </p:spPr>
        <p:txBody>
          <a:bodyPr anchor="ctr"/>
          <a:lstStyle>
            <a:lvl1pPr marL="0" indent="0" algn="ctr">
              <a:buNone/>
              <a:defRPr>
                <a:solidFill>
                  <a:schemeClr val="bg2"/>
                </a:solidFill>
              </a:defRPr>
            </a:lvl1pPr>
          </a:lstStyle>
          <a:p>
            <a:r>
              <a:rPr lang="en-US" dirty="0"/>
              <a:t>Place Chart Here</a:t>
            </a:r>
          </a:p>
        </p:txBody>
      </p:sp>
    </p:spTree>
    <p:extLst>
      <p:ext uri="{BB962C8B-B14F-4D97-AF65-F5344CB8AC3E}">
        <p14:creationId xmlns:p14="http://schemas.microsoft.com/office/powerpoint/2010/main" val="10695542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line / Subhead / Image and Copy">
    <p:spTree>
      <p:nvGrpSpPr>
        <p:cNvPr id="1" name=""/>
        <p:cNvGrpSpPr/>
        <p:nvPr/>
      </p:nvGrpSpPr>
      <p:grpSpPr>
        <a:xfrm>
          <a:off x="0" y="0"/>
          <a:ext cx="0" cy="0"/>
          <a:chOff x="0" y="0"/>
          <a:chExt cx="0" cy="0"/>
        </a:xfrm>
      </p:grpSpPr>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4580076" y="1222297"/>
            <a:ext cx="4345688" cy="263281"/>
          </a:xfrm>
          <a:prstGeom prst="rect">
            <a:avLst/>
          </a:prstGeom>
        </p:spPr>
        <p:txBody>
          <a:bodyPr/>
          <a:lstStyle>
            <a:lvl1pPr marL="171296" indent="-171296" algn="l" defTabSz="685183" rtl="0" eaLnBrk="1" fontAlgn="t" latinLnBrk="0" hangingPunct="1">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marL="171296" lvl="0" indent="-171296" algn="l" defTabSz="685183" rtl="0" eaLnBrk="1" fontAlgn="t" latinLnBrk="0" hangingPunct="1">
              <a:lnSpc>
                <a:spcPct val="100000"/>
              </a:lnSpc>
              <a:spcBef>
                <a:spcPts val="0"/>
              </a:spcBef>
            </a:pPr>
            <a:r>
              <a:rPr lang="en-US" dirty="0"/>
              <a:t>Subhead Two</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
        <p:nvSpPr>
          <p:cNvPr id="12" name="Text Placeholder 11"/>
          <p:cNvSpPr>
            <a:spLocks noGrp="1"/>
          </p:cNvSpPr>
          <p:nvPr>
            <p:ph type="body" sz="quarter" idx="29"/>
          </p:nvPr>
        </p:nvSpPr>
        <p:spPr>
          <a:xfrm>
            <a:off x="4580776" y="1595205"/>
            <a:ext cx="4344988"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3"/>
          <p:cNvSpPr>
            <a:spLocks noGrp="1"/>
          </p:cNvSpPr>
          <p:nvPr>
            <p:ph type="pic" sz="quarter" idx="30" hasCustomPrompt="1"/>
          </p:nvPr>
        </p:nvSpPr>
        <p:spPr>
          <a:xfrm>
            <a:off x="226311" y="1222830"/>
            <a:ext cx="4198052" cy="3619005"/>
          </a:xfrm>
          <a:prstGeom prst="rect">
            <a:avLst/>
          </a:prstGeom>
        </p:spPr>
        <p:txBody>
          <a:bodyPr anchor="ctr"/>
          <a:lstStyle>
            <a:lvl1pPr marL="0" indent="0" algn="ctr">
              <a:buNone/>
              <a:defRPr>
                <a:solidFill>
                  <a:schemeClr val="bg2"/>
                </a:solidFill>
              </a:defRPr>
            </a:lvl1pPr>
          </a:lstStyle>
          <a:p>
            <a:r>
              <a:rPr lang="en-US" dirty="0"/>
              <a:t>Place Picture Here</a:t>
            </a:r>
          </a:p>
        </p:txBody>
      </p:sp>
    </p:spTree>
    <p:extLst>
      <p:ext uri="{BB962C8B-B14F-4D97-AF65-F5344CB8AC3E}">
        <p14:creationId xmlns:p14="http://schemas.microsoft.com/office/powerpoint/2010/main" val="1828715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Layout">
    <p:spTree>
      <p:nvGrpSpPr>
        <p:cNvPr id="1" name=""/>
        <p:cNvGrpSpPr/>
        <p:nvPr/>
      </p:nvGrpSpPr>
      <p:grpSpPr>
        <a:xfrm>
          <a:off x="0" y="0"/>
          <a:ext cx="0" cy="0"/>
          <a:chOff x="0" y="0"/>
          <a:chExt cx="0" cy="0"/>
        </a:xfrm>
      </p:grpSpPr>
      <p:sp>
        <p:nvSpPr>
          <p:cNvPr id="3" name="Title 15"/>
          <p:cNvSpPr txBox="1">
            <a:spLocks/>
          </p:cNvSpPr>
          <p:nvPr userDrawn="1"/>
        </p:nvSpPr>
        <p:spPr>
          <a:xfrm>
            <a:off x="1183117" y="1445729"/>
            <a:ext cx="4531883" cy="763286"/>
          </a:xfrm>
          <a:prstGeom prst="rect">
            <a:avLst/>
          </a:prstGeom>
          <a:ln w="76200" cmpd="sng">
            <a:noFill/>
          </a:ln>
          <a:effectLst/>
        </p:spPr>
        <p:txBody>
          <a:bodyPr vert="horz" wrap="square" lIns="0" tIns="0" rIns="0" bIns="0" rtlCol="0" anchor="ctr">
            <a:spAutoFit/>
          </a:bodyPr>
          <a:lstStyle>
            <a:lvl1pPr algn="ctr" defTabSz="457200" rtl="0" eaLnBrk="1" latinLnBrk="0" hangingPunct="1">
              <a:lnSpc>
                <a:spcPct val="80000"/>
              </a:lnSpc>
              <a:spcBef>
                <a:spcPct val="0"/>
              </a:spcBef>
              <a:buNone/>
              <a:defRPr lang="en-US" sz="3200" b="1" kern="1200" spc="-50" baseline="0" dirty="0">
                <a:solidFill>
                  <a:schemeClr val="bg1"/>
                </a:solidFill>
                <a:effectLst/>
                <a:latin typeface="+mj-lt"/>
                <a:ea typeface="+mj-ea"/>
                <a:cs typeface="+mj-cs"/>
              </a:defRPr>
            </a:lvl1pPr>
          </a:lstStyle>
          <a:p>
            <a:pPr algn="l"/>
            <a:r>
              <a:rPr lang="en-US" sz="6200" spc="-150" baseline="0" dirty="0"/>
              <a:t>Thank You!</a:t>
            </a:r>
          </a:p>
        </p:txBody>
      </p:sp>
      <p:sp>
        <p:nvSpPr>
          <p:cNvPr id="4" name="Text Placeholder 12"/>
          <p:cNvSpPr>
            <a:spLocks noGrp="1"/>
          </p:cNvSpPr>
          <p:nvPr>
            <p:ph type="body" sz="quarter" idx="10" hasCustomPrompt="1"/>
          </p:nvPr>
        </p:nvSpPr>
        <p:spPr>
          <a:xfrm>
            <a:off x="1182688" y="2495550"/>
            <a:ext cx="2855912" cy="1143000"/>
          </a:xfrm>
          <a:prstGeom prst="rect">
            <a:avLst/>
          </a:prstGeom>
        </p:spPr>
        <p:txBody>
          <a:bodyPr>
            <a:noAutofit/>
          </a:bodyPr>
          <a:lstStyle>
            <a:lvl1pPr marL="0" indent="0">
              <a:lnSpc>
                <a:spcPts val="1600"/>
              </a:lnSpc>
              <a:spcBef>
                <a:spcPts val="0"/>
              </a:spcBef>
              <a:spcAft>
                <a:spcPts val="0"/>
              </a:spcAft>
              <a:buNone/>
              <a:defRPr sz="1200" baseline="0">
                <a:solidFill>
                  <a:schemeClr val="bg1"/>
                </a:solidFill>
              </a:defRPr>
            </a:lvl1pPr>
          </a:lstStyle>
          <a:p>
            <a:r>
              <a:rPr lang="en-US" dirty="0"/>
              <a:t>First Name Last Name</a:t>
            </a:r>
          </a:p>
          <a:p>
            <a:r>
              <a:rPr lang="en-US" dirty="0"/>
              <a:t>Job Title</a:t>
            </a:r>
          </a:p>
          <a:p>
            <a:r>
              <a:rPr lang="en-US" dirty="0" err="1"/>
              <a:t>email@amobee.com</a:t>
            </a:r>
            <a:endParaRPr lang="en-US" dirty="0"/>
          </a:p>
          <a:p>
            <a:r>
              <a:rPr lang="en-US" dirty="0"/>
              <a:t>+1 000 000 0000</a:t>
            </a:r>
          </a:p>
        </p:txBody>
      </p:sp>
    </p:spTree>
    <p:extLst>
      <p:ext uri="{BB962C8B-B14F-4D97-AF65-F5344CB8AC3E}">
        <p14:creationId xmlns:p14="http://schemas.microsoft.com/office/powerpoint/2010/main" val="185558277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eadline / Subhead / Copy / Two Charts">
    <p:spTree>
      <p:nvGrpSpPr>
        <p:cNvPr id="1" name=""/>
        <p:cNvGrpSpPr/>
        <p:nvPr/>
      </p:nvGrpSpPr>
      <p:grpSpPr>
        <a:xfrm>
          <a:off x="0" y="0"/>
          <a:ext cx="0" cy="0"/>
          <a:chOff x="0" y="0"/>
          <a:chExt cx="0" cy="0"/>
        </a:xfrm>
      </p:grpSpPr>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225611" y="1222297"/>
            <a:ext cx="4289238" cy="263281"/>
          </a:xfrm>
          <a:prstGeom prst="rect">
            <a:avLst/>
          </a:prstGeom>
        </p:spPr>
        <p:txBody>
          <a:bodyPr/>
          <a:lstStyle>
            <a:lvl1pPr marL="171296" indent="-171296" algn="l" defTabSz="685183" rtl="0" eaLnBrk="1" fontAlgn="t" latinLnBrk="0" hangingPunct="1">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marL="171296" lvl="0" indent="-171296" algn="l" defTabSz="685183" rtl="0" eaLnBrk="1" fontAlgn="t" latinLnBrk="0" hangingPunct="1">
              <a:lnSpc>
                <a:spcPct val="100000"/>
              </a:lnSpc>
              <a:spcBef>
                <a:spcPts val="0"/>
              </a:spcBef>
            </a:pPr>
            <a:r>
              <a:rPr lang="en-US" dirty="0"/>
              <a:t>Subhead One</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
        <p:nvSpPr>
          <p:cNvPr id="12" name="Text Placeholder 11"/>
          <p:cNvSpPr>
            <a:spLocks noGrp="1"/>
          </p:cNvSpPr>
          <p:nvPr>
            <p:ph type="body" sz="quarter" idx="29"/>
          </p:nvPr>
        </p:nvSpPr>
        <p:spPr>
          <a:xfrm>
            <a:off x="226311" y="1595205"/>
            <a:ext cx="4288539"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hart Placeholder 7"/>
          <p:cNvSpPr>
            <a:spLocks noGrp="1"/>
          </p:cNvSpPr>
          <p:nvPr>
            <p:ph type="chart" sz="quarter" idx="30" hasCustomPrompt="1"/>
          </p:nvPr>
        </p:nvSpPr>
        <p:spPr>
          <a:xfrm>
            <a:off x="4640263" y="1122913"/>
            <a:ext cx="4285501" cy="1817590"/>
          </a:xfrm>
          <a:prstGeom prst="rect">
            <a:avLst/>
          </a:prstGeom>
        </p:spPr>
        <p:txBody>
          <a:bodyPr anchor="ctr"/>
          <a:lstStyle>
            <a:lvl1pPr marL="0" indent="0" algn="ctr">
              <a:buNone/>
              <a:defRPr>
                <a:solidFill>
                  <a:schemeClr val="bg2"/>
                </a:solidFill>
              </a:defRPr>
            </a:lvl1pPr>
          </a:lstStyle>
          <a:p>
            <a:r>
              <a:rPr lang="en-US" dirty="0"/>
              <a:t>Place Chart Here</a:t>
            </a:r>
          </a:p>
        </p:txBody>
      </p:sp>
      <p:sp>
        <p:nvSpPr>
          <p:cNvPr id="10" name="Chart Placeholder 7"/>
          <p:cNvSpPr>
            <a:spLocks noGrp="1"/>
          </p:cNvSpPr>
          <p:nvPr>
            <p:ph type="chart" sz="quarter" idx="31" hasCustomPrompt="1"/>
          </p:nvPr>
        </p:nvSpPr>
        <p:spPr>
          <a:xfrm>
            <a:off x="4640263" y="3026148"/>
            <a:ext cx="4285501" cy="1836625"/>
          </a:xfrm>
          <a:prstGeom prst="rect">
            <a:avLst/>
          </a:prstGeom>
        </p:spPr>
        <p:txBody>
          <a:bodyPr anchor="ctr"/>
          <a:lstStyle>
            <a:lvl1pPr marL="0" indent="0" algn="ctr">
              <a:buNone/>
              <a:defRPr>
                <a:solidFill>
                  <a:schemeClr val="bg2"/>
                </a:solidFill>
              </a:defRPr>
            </a:lvl1pPr>
          </a:lstStyle>
          <a:p>
            <a:r>
              <a:rPr lang="en-US" dirty="0"/>
              <a:t>Place Chart Here</a:t>
            </a:r>
          </a:p>
        </p:txBody>
      </p:sp>
    </p:spTree>
    <p:extLst>
      <p:ext uri="{BB962C8B-B14F-4D97-AF65-F5344CB8AC3E}">
        <p14:creationId xmlns:p14="http://schemas.microsoft.com/office/powerpoint/2010/main" val="206379122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eadline / Subheads / Three Columns">
    <p:spTree>
      <p:nvGrpSpPr>
        <p:cNvPr id="1" name=""/>
        <p:cNvGrpSpPr/>
        <p:nvPr/>
      </p:nvGrpSpPr>
      <p:grpSpPr>
        <a:xfrm>
          <a:off x="0" y="0"/>
          <a:ext cx="0" cy="0"/>
          <a:chOff x="0" y="0"/>
          <a:chExt cx="0" cy="0"/>
        </a:xfrm>
      </p:grpSpPr>
      <p:sp>
        <p:nvSpPr>
          <p:cNvPr id="15" name="Text Placeholder 11"/>
          <p:cNvSpPr>
            <a:spLocks noGrp="1"/>
          </p:cNvSpPr>
          <p:nvPr>
            <p:ph type="body" sz="quarter" idx="35"/>
          </p:nvPr>
        </p:nvSpPr>
        <p:spPr>
          <a:xfrm>
            <a:off x="216138" y="1595548"/>
            <a:ext cx="2710162"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p:cNvSpPr>
            <a:spLocks noGrp="1"/>
          </p:cNvSpPr>
          <p:nvPr>
            <p:ph type="body" sz="quarter" idx="26" hasCustomPrompt="1"/>
          </p:nvPr>
        </p:nvSpPr>
        <p:spPr>
          <a:xfrm>
            <a:off x="226311" y="134652"/>
            <a:ext cx="7792274" cy="723244"/>
          </a:xfrm>
          <a:prstGeom prst="rect">
            <a:avLst/>
          </a:prstGeom>
        </p:spPr>
        <p:txBody>
          <a:bodyPr/>
          <a:lstStyle>
            <a:lvl1pPr marL="0" indent="0" algn="l" defTabSz="685183" rtl="0" eaLnBrk="1" fontAlgn="t" latinLnBrk="0" hangingPunct="1">
              <a:lnSpc>
                <a:spcPts val="3197"/>
              </a:lnSpc>
              <a:spcBef>
                <a:spcPts val="0"/>
              </a:spcBef>
              <a:buFont typeface="Arial"/>
              <a:buNone/>
              <a:defRPr lang="en-US" sz="2797" b="1" kern="2500" spc="-150" baseline="0" dirty="0" smtClean="0">
                <a:solidFill>
                  <a:schemeClr val="tx1"/>
                </a:solidFill>
                <a:latin typeface="Arial" charset="0"/>
                <a:ea typeface="Arial" charset="0"/>
                <a:cs typeface="Arial" charset="0"/>
              </a:defRPr>
            </a:lvl1pPr>
            <a:lvl2pPr marL="342591" indent="0">
              <a:buNone/>
              <a:defRPr b="1">
                <a:latin typeface="Arial" charset="0"/>
                <a:ea typeface="Arial" charset="0"/>
                <a:cs typeface="Arial" charset="0"/>
              </a:defRPr>
            </a:lvl2pPr>
            <a:lvl3pPr marL="685183" indent="0">
              <a:buNone/>
              <a:defRPr b="1">
                <a:latin typeface="Arial" charset="0"/>
                <a:ea typeface="Arial" charset="0"/>
                <a:cs typeface="Arial" charset="0"/>
              </a:defRPr>
            </a:lvl3pPr>
            <a:lvl4pPr marL="1027774" indent="0">
              <a:buNone/>
              <a:defRPr b="1">
                <a:latin typeface="Arial" charset="0"/>
                <a:ea typeface="Arial" charset="0"/>
                <a:cs typeface="Arial" charset="0"/>
              </a:defRPr>
            </a:lvl4pPr>
            <a:lvl5pPr marL="1370366" indent="0">
              <a:buNone/>
              <a:defRPr b="1">
                <a:latin typeface="Arial" charset="0"/>
                <a:ea typeface="Arial" charset="0"/>
                <a:cs typeface="Arial" charset="0"/>
              </a:defRPr>
            </a:lvl5pPr>
          </a:lstStyle>
          <a:p>
            <a:pPr lvl="0"/>
            <a:r>
              <a:rPr lang="en-US" dirty="0"/>
              <a:t>This is a Headline</a:t>
            </a:r>
          </a:p>
          <a:p>
            <a:pPr lvl="0"/>
            <a:r>
              <a:rPr lang="en-US" dirty="0"/>
              <a:t>Composed of Two Lines (Arial 28pt)</a:t>
            </a:r>
          </a:p>
        </p:txBody>
      </p:sp>
      <p:sp>
        <p:nvSpPr>
          <p:cNvPr id="11" name="Text Placeholder 8"/>
          <p:cNvSpPr>
            <a:spLocks noGrp="1"/>
          </p:cNvSpPr>
          <p:nvPr>
            <p:ph type="body" sz="quarter" idx="27" hasCustomPrompt="1"/>
          </p:nvPr>
        </p:nvSpPr>
        <p:spPr>
          <a:xfrm>
            <a:off x="223822" y="1222297"/>
            <a:ext cx="2700353" cy="263281"/>
          </a:xfrm>
          <a:prstGeom prst="rect">
            <a:avLst/>
          </a:prstGeom>
        </p:spPr>
        <p:txBody>
          <a:bodyPr/>
          <a:lstStyle>
            <a:lvl1pPr marL="0" indent="0" fontAlgn="t">
              <a:lnSpc>
                <a:spcPct val="100000"/>
              </a:lnSpc>
              <a:spcBef>
                <a:spcPts val="0"/>
              </a:spcBef>
              <a:buNone/>
              <a:defRPr sz="1798" kern="1500" spc="-50" baseline="0">
                <a:solidFill>
                  <a:schemeClr val="bg1"/>
                </a:solidFill>
                <a:latin typeface="Arial" charset="0"/>
                <a:ea typeface="Arial" charset="0"/>
                <a:cs typeface="Arial" charset="0"/>
              </a:defRPr>
            </a:lvl1pPr>
            <a:lvl2pPr>
              <a:defRPr sz="1798">
                <a:solidFill>
                  <a:schemeClr val="bg1"/>
                </a:solidFill>
                <a:latin typeface="Arial" charset="0"/>
                <a:ea typeface="Arial" charset="0"/>
                <a:cs typeface="Arial" charset="0"/>
              </a:defRPr>
            </a:lvl2pPr>
            <a:lvl3pPr>
              <a:defRPr sz="1798">
                <a:solidFill>
                  <a:schemeClr val="bg1"/>
                </a:solidFill>
                <a:latin typeface="Arial" charset="0"/>
                <a:ea typeface="Arial" charset="0"/>
                <a:cs typeface="Arial" charset="0"/>
              </a:defRPr>
            </a:lvl3pPr>
            <a:lvl4pPr>
              <a:defRPr sz="1798">
                <a:solidFill>
                  <a:schemeClr val="bg1"/>
                </a:solidFill>
                <a:latin typeface="Arial" charset="0"/>
                <a:ea typeface="Arial" charset="0"/>
                <a:cs typeface="Arial" charset="0"/>
              </a:defRPr>
            </a:lvl4pPr>
            <a:lvl5pPr>
              <a:defRPr sz="1798">
                <a:solidFill>
                  <a:schemeClr val="bg1"/>
                </a:solidFill>
                <a:latin typeface="Arial" charset="0"/>
                <a:ea typeface="Arial" charset="0"/>
                <a:cs typeface="Arial" charset="0"/>
              </a:defRPr>
            </a:lvl5pPr>
          </a:lstStyle>
          <a:p>
            <a:pPr lvl="0"/>
            <a:r>
              <a:rPr lang="en-US" dirty="0"/>
              <a:t>Subhead One</a:t>
            </a:r>
          </a:p>
        </p:txBody>
      </p:sp>
      <p:sp>
        <p:nvSpPr>
          <p:cNvPr id="6" name="Slide Number Placeholder 23"/>
          <p:cNvSpPr>
            <a:spLocks noGrp="1"/>
          </p:cNvSpPr>
          <p:nvPr>
            <p:ph type="sldNum" sz="quarter" idx="4"/>
          </p:nvPr>
        </p:nvSpPr>
        <p:spPr>
          <a:xfrm>
            <a:off x="892576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a:p>
        </p:txBody>
      </p:sp>
      <p:sp>
        <p:nvSpPr>
          <p:cNvPr id="7" name="Text Placeholder 6"/>
          <p:cNvSpPr>
            <a:spLocks noGrp="1"/>
          </p:cNvSpPr>
          <p:nvPr>
            <p:ph type="body" sz="quarter" idx="31" hasCustomPrompt="1"/>
          </p:nvPr>
        </p:nvSpPr>
        <p:spPr>
          <a:xfrm>
            <a:off x="3181361" y="1222275"/>
            <a:ext cx="2747868" cy="263281"/>
          </a:xfrm>
          <a:prstGeom prst="rect">
            <a:avLst/>
          </a:prstGeom>
        </p:spPr>
        <p:txBody>
          <a:bodyPr/>
          <a:lstStyle>
            <a:lvl1pPr marL="0" indent="0">
              <a:buNone/>
              <a:defRPr lang="en-US" sz="1798" kern="1500" spc="-50" baseline="0" dirty="0">
                <a:solidFill>
                  <a:schemeClr val="bg1"/>
                </a:solidFill>
                <a:latin typeface="Arial" charset="0"/>
                <a:ea typeface="Arial" charset="0"/>
                <a:cs typeface="Arial" charset="0"/>
              </a:defRPr>
            </a:lvl1pPr>
          </a:lstStyle>
          <a:p>
            <a:pPr marL="171296" lvl="0" indent="-171296" algn="l" defTabSz="685183" rtl="0" eaLnBrk="1" fontAlgn="t" latinLnBrk="0" hangingPunct="1">
              <a:lnSpc>
                <a:spcPct val="100000"/>
              </a:lnSpc>
              <a:spcBef>
                <a:spcPts val="0"/>
              </a:spcBef>
            </a:pPr>
            <a:r>
              <a:rPr lang="en-US" dirty="0"/>
              <a:t>Subhead Two</a:t>
            </a:r>
          </a:p>
        </p:txBody>
      </p:sp>
      <p:sp>
        <p:nvSpPr>
          <p:cNvPr id="13" name="Text Placeholder 6"/>
          <p:cNvSpPr>
            <a:spLocks noGrp="1"/>
          </p:cNvSpPr>
          <p:nvPr>
            <p:ph type="body" sz="quarter" idx="33" hasCustomPrompt="1"/>
          </p:nvPr>
        </p:nvSpPr>
        <p:spPr>
          <a:xfrm>
            <a:off x="6177896" y="1222275"/>
            <a:ext cx="2747868" cy="263281"/>
          </a:xfrm>
          <a:prstGeom prst="rect">
            <a:avLst/>
          </a:prstGeom>
        </p:spPr>
        <p:txBody>
          <a:bodyPr/>
          <a:lstStyle>
            <a:lvl1pPr marL="0" indent="0">
              <a:buNone/>
              <a:defRPr lang="en-US" sz="1798" kern="1500" spc="-50" baseline="0" dirty="0">
                <a:solidFill>
                  <a:schemeClr val="bg1"/>
                </a:solidFill>
                <a:latin typeface="Arial" charset="0"/>
                <a:ea typeface="Arial" charset="0"/>
                <a:cs typeface="Arial" charset="0"/>
              </a:defRPr>
            </a:lvl1pPr>
          </a:lstStyle>
          <a:p>
            <a:pPr marL="171296" lvl="0" indent="-171296" algn="l" defTabSz="685183" rtl="0" eaLnBrk="1" fontAlgn="t" latinLnBrk="0" hangingPunct="1">
              <a:lnSpc>
                <a:spcPct val="100000"/>
              </a:lnSpc>
              <a:spcBef>
                <a:spcPts val="0"/>
              </a:spcBef>
            </a:pPr>
            <a:r>
              <a:rPr lang="en-US" dirty="0"/>
              <a:t>Subhead Three</a:t>
            </a:r>
          </a:p>
        </p:txBody>
      </p:sp>
      <p:sp>
        <p:nvSpPr>
          <p:cNvPr id="16" name="Text Placeholder 11"/>
          <p:cNvSpPr>
            <a:spLocks noGrp="1"/>
          </p:cNvSpPr>
          <p:nvPr>
            <p:ph type="body" sz="quarter" idx="36"/>
          </p:nvPr>
        </p:nvSpPr>
        <p:spPr>
          <a:xfrm>
            <a:off x="3181361" y="1595548"/>
            <a:ext cx="2710162"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1"/>
          <p:cNvSpPr>
            <a:spLocks noGrp="1"/>
          </p:cNvSpPr>
          <p:nvPr>
            <p:ph type="body" sz="quarter" idx="37"/>
          </p:nvPr>
        </p:nvSpPr>
        <p:spPr>
          <a:xfrm>
            <a:off x="6177896" y="1595548"/>
            <a:ext cx="2710162" cy="3246631"/>
          </a:xfrm>
          <a:prstGeom prst="rect">
            <a:avLst/>
          </a:prstGeom>
        </p:spPr>
        <p:txBody>
          <a:bodyPr/>
          <a:lstStyle>
            <a:lvl1pPr marL="285493" indent="-285493">
              <a:lnSpc>
                <a:spcPct val="100000"/>
              </a:lnSpc>
              <a:spcBef>
                <a:spcPts val="1199"/>
              </a:spcBef>
              <a:buClr>
                <a:schemeClr val="bg1"/>
              </a:buClr>
              <a:buFont typeface="Wingdings" panose="05000000000000000000" pitchFamily="2" charset="2"/>
              <a:buChar char="§"/>
              <a:defRPr sz="1599"/>
            </a:lvl1pPr>
            <a:lvl2pPr marL="295009" indent="-295009">
              <a:lnSpc>
                <a:spcPct val="100000"/>
              </a:lnSpc>
              <a:spcBef>
                <a:spcPts val="1199"/>
              </a:spcBef>
              <a:buClr>
                <a:schemeClr val="bg1"/>
              </a:buClr>
              <a:buFont typeface="Wingdings" panose="05000000000000000000" pitchFamily="2" charset="2"/>
              <a:buChar char="§"/>
              <a:defRPr sz="1599"/>
            </a:lvl2pPr>
            <a:lvl3pPr marL="526576" indent="-217292">
              <a:lnSpc>
                <a:spcPct val="100000"/>
              </a:lnSpc>
              <a:spcBef>
                <a:spcPts val="1199"/>
              </a:spcBef>
              <a:buClr>
                <a:schemeClr val="bg1"/>
              </a:buClr>
              <a:buFont typeface="Wingdings" panose="05000000000000000000" pitchFamily="2" charset="2"/>
              <a:buChar char="§"/>
              <a:tabLst>
                <a:tab pos="231566" algn="l"/>
              </a:tabLst>
              <a:defRPr sz="1399"/>
            </a:lvl3pPr>
            <a:lvl4pPr marL="737524" indent="-203017">
              <a:lnSpc>
                <a:spcPct val="100000"/>
              </a:lnSpc>
              <a:spcBef>
                <a:spcPts val="1199"/>
              </a:spcBef>
              <a:buClr>
                <a:schemeClr val="bg1"/>
              </a:buClr>
              <a:buFont typeface="Wingdings" panose="05000000000000000000" pitchFamily="2" charset="2"/>
              <a:buChar char="§"/>
              <a:defRPr sz="1199"/>
            </a:lvl4pPr>
            <a:lvl5pPr marL="927852" indent="-190329">
              <a:lnSpc>
                <a:spcPct val="100000"/>
              </a:lnSpc>
              <a:spcBef>
                <a:spcPts val="1199"/>
              </a:spcBef>
              <a:buClr>
                <a:schemeClr val="bg1"/>
              </a:buClr>
              <a:buFont typeface="Wingdings" panose="05000000000000000000" pitchFamily="2" charset="2"/>
              <a:buChar char="§"/>
              <a:defRPr sz="1199"/>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892774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3"/>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5"/>
            <a:ext cx="8238066" cy="3403600"/>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33" y="1260"/>
            <a:ext cx="608540" cy="609103"/>
          </a:xfrm>
          <a:prstGeom prst="rect">
            <a:avLst/>
          </a:prstGeom>
        </p:spPr>
      </p:pic>
    </p:spTree>
    <p:extLst>
      <p:ext uri="{BB962C8B-B14F-4D97-AF65-F5344CB8AC3E}">
        <p14:creationId xmlns:p14="http://schemas.microsoft.com/office/powerpoint/2010/main" val="333361585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ubhead">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3"/>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5" y="1490135"/>
            <a:ext cx="824344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51" indent="-274313">
              <a:spcBef>
                <a:spcPts val="0"/>
              </a:spcBef>
              <a:spcAft>
                <a:spcPts val="900"/>
              </a:spcAft>
              <a:buClr>
                <a:schemeClr val="accent1"/>
              </a:buClr>
              <a:defRPr sz="1600" spc="-30">
                <a:solidFill>
                  <a:schemeClr val="tx1">
                    <a:lumMod val="85000"/>
                    <a:lumOff val="15000"/>
                  </a:schemeClr>
                </a:solidFill>
                <a:latin typeface="Arial"/>
                <a:cs typeface="Arial"/>
              </a:defRPr>
            </a:lvl2pPr>
            <a:lvl3pPr marL="548627" indent="-182876">
              <a:spcBef>
                <a:spcPts val="0"/>
              </a:spcBef>
              <a:spcAft>
                <a:spcPts val="900"/>
              </a:spcAft>
              <a:buClr>
                <a:schemeClr val="accent1"/>
              </a:buClr>
              <a:defRPr sz="1600" spc="-30">
                <a:solidFill>
                  <a:schemeClr val="tx1">
                    <a:lumMod val="85000"/>
                    <a:lumOff val="15000"/>
                  </a:schemeClr>
                </a:solidFill>
                <a:latin typeface="Arial"/>
                <a:cs typeface="Arial"/>
              </a:defRPr>
            </a:lvl3pPr>
            <a:lvl4pPr marL="91438" indent="182876">
              <a:buClr>
                <a:schemeClr val="accent1"/>
              </a:buClr>
              <a:defRPr sz="1200">
                <a:solidFill>
                  <a:schemeClr val="tx1">
                    <a:lumMod val="75000"/>
                    <a:lumOff val="25000"/>
                  </a:schemeClr>
                </a:solidFill>
                <a:latin typeface="Arial"/>
                <a:cs typeface="Arial"/>
              </a:defRPr>
            </a:lvl4pPr>
            <a:lvl5pPr marL="91438" indent="182876">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7"/>
            <a:ext cx="8238066" cy="2954867"/>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33" y="1260"/>
            <a:ext cx="608540" cy="609103"/>
          </a:xfrm>
          <a:prstGeom prst="rect">
            <a:avLst/>
          </a:prstGeom>
        </p:spPr>
      </p:pic>
    </p:spTree>
    <p:extLst>
      <p:ext uri="{BB962C8B-B14F-4D97-AF65-F5344CB8AC3E}">
        <p14:creationId xmlns:p14="http://schemas.microsoft.com/office/powerpoint/2010/main" val="42966506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ouble Column">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3"/>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5" y="1490135"/>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51" indent="-274313">
              <a:spcBef>
                <a:spcPts val="0"/>
              </a:spcBef>
              <a:spcAft>
                <a:spcPts val="900"/>
              </a:spcAft>
              <a:buClr>
                <a:schemeClr val="accent1"/>
              </a:buClr>
              <a:defRPr sz="1600" spc="-30">
                <a:solidFill>
                  <a:schemeClr val="tx1">
                    <a:lumMod val="85000"/>
                    <a:lumOff val="15000"/>
                  </a:schemeClr>
                </a:solidFill>
                <a:latin typeface="Arial"/>
                <a:cs typeface="Arial"/>
              </a:defRPr>
            </a:lvl2pPr>
            <a:lvl3pPr marL="548627" indent="-182876">
              <a:spcBef>
                <a:spcPts val="0"/>
              </a:spcBef>
              <a:spcAft>
                <a:spcPts val="900"/>
              </a:spcAft>
              <a:buClr>
                <a:schemeClr val="accent1"/>
              </a:buClr>
              <a:defRPr sz="1600" spc="-30">
                <a:solidFill>
                  <a:schemeClr val="tx1">
                    <a:lumMod val="85000"/>
                    <a:lumOff val="15000"/>
                  </a:schemeClr>
                </a:solidFill>
                <a:latin typeface="Arial"/>
                <a:cs typeface="Arial"/>
              </a:defRPr>
            </a:lvl3pPr>
            <a:lvl4pPr marL="91438" indent="182876">
              <a:buClr>
                <a:schemeClr val="accent1"/>
              </a:buClr>
              <a:defRPr sz="1200">
                <a:solidFill>
                  <a:schemeClr val="tx1">
                    <a:lumMod val="75000"/>
                    <a:lumOff val="25000"/>
                  </a:schemeClr>
                </a:solidFill>
                <a:latin typeface="Arial"/>
                <a:cs typeface="Arial"/>
              </a:defRPr>
            </a:lvl4pPr>
            <a:lvl5pPr marL="91438" indent="182876">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8" y="1938867"/>
            <a:ext cx="4021667" cy="2954867"/>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3" name="Text Placeholder 2"/>
          <p:cNvSpPr>
            <a:spLocks noGrp="1"/>
          </p:cNvSpPr>
          <p:nvPr>
            <p:ph type="body" sz="quarter" idx="17"/>
          </p:nvPr>
        </p:nvSpPr>
        <p:spPr>
          <a:xfrm>
            <a:off x="4425293" y="1490135"/>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51" indent="-274313">
              <a:spcBef>
                <a:spcPts val="0"/>
              </a:spcBef>
              <a:spcAft>
                <a:spcPts val="900"/>
              </a:spcAft>
              <a:buClr>
                <a:schemeClr val="accent1"/>
              </a:buClr>
              <a:defRPr sz="1600" spc="-30">
                <a:solidFill>
                  <a:schemeClr val="tx1">
                    <a:lumMod val="85000"/>
                    <a:lumOff val="15000"/>
                  </a:schemeClr>
                </a:solidFill>
                <a:latin typeface="Arial"/>
                <a:cs typeface="Arial"/>
              </a:defRPr>
            </a:lvl2pPr>
            <a:lvl3pPr marL="548627" indent="-182876">
              <a:spcBef>
                <a:spcPts val="0"/>
              </a:spcBef>
              <a:spcAft>
                <a:spcPts val="900"/>
              </a:spcAft>
              <a:buClr>
                <a:schemeClr val="accent1"/>
              </a:buClr>
              <a:defRPr sz="1600" spc="-30">
                <a:solidFill>
                  <a:schemeClr val="tx1">
                    <a:lumMod val="85000"/>
                    <a:lumOff val="15000"/>
                  </a:schemeClr>
                </a:solidFill>
                <a:latin typeface="Arial"/>
                <a:cs typeface="Arial"/>
              </a:defRPr>
            </a:lvl3pPr>
            <a:lvl4pPr marL="91438" indent="182876">
              <a:buClr>
                <a:schemeClr val="accent1"/>
              </a:buClr>
              <a:defRPr sz="1200">
                <a:solidFill>
                  <a:schemeClr val="tx1">
                    <a:lumMod val="75000"/>
                    <a:lumOff val="25000"/>
                  </a:schemeClr>
                </a:solidFill>
                <a:latin typeface="Arial"/>
                <a:cs typeface="Arial"/>
              </a:defRPr>
            </a:lvl4pPr>
            <a:lvl5pPr marL="91438" indent="182876">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4" name="Content Placeholder 18"/>
          <p:cNvSpPr>
            <a:spLocks noGrp="1"/>
          </p:cNvSpPr>
          <p:nvPr>
            <p:ph sz="quarter" idx="18"/>
          </p:nvPr>
        </p:nvSpPr>
        <p:spPr>
          <a:xfrm>
            <a:off x="4428066" y="1938867"/>
            <a:ext cx="4021667" cy="2954867"/>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33" y="1260"/>
            <a:ext cx="608540" cy="609103"/>
          </a:xfrm>
          <a:prstGeom prst="rect">
            <a:avLst/>
          </a:prstGeom>
        </p:spPr>
      </p:pic>
    </p:spTree>
    <p:extLst>
      <p:ext uri="{BB962C8B-B14F-4D97-AF65-F5344CB8AC3E}">
        <p14:creationId xmlns:p14="http://schemas.microsoft.com/office/powerpoint/2010/main" val="8043410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lumn + Big Imag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3"/>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5" y="1490135"/>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51" indent="-274313">
              <a:spcBef>
                <a:spcPts val="0"/>
              </a:spcBef>
              <a:spcAft>
                <a:spcPts val="900"/>
              </a:spcAft>
              <a:buClr>
                <a:schemeClr val="accent1"/>
              </a:buClr>
              <a:defRPr sz="1600" spc="-30">
                <a:solidFill>
                  <a:schemeClr val="tx1">
                    <a:lumMod val="85000"/>
                    <a:lumOff val="15000"/>
                  </a:schemeClr>
                </a:solidFill>
                <a:latin typeface="Arial"/>
                <a:cs typeface="Arial"/>
              </a:defRPr>
            </a:lvl2pPr>
            <a:lvl3pPr marL="548627" indent="-182876">
              <a:spcBef>
                <a:spcPts val="0"/>
              </a:spcBef>
              <a:spcAft>
                <a:spcPts val="900"/>
              </a:spcAft>
              <a:buClr>
                <a:schemeClr val="accent1"/>
              </a:buClr>
              <a:defRPr sz="1600" spc="-30">
                <a:solidFill>
                  <a:schemeClr val="tx1">
                    <a:lumMod val="85000"/>
                    <a:lumOff val="15000"/>
                  </a:schemeClr>
                </a:solidFill>
                <a:latin typeface="Arial"/>
                <a:cs typeface="Arial"/>
              </a:defRPr>
            </a:lvl3pPr>
            <a:lvl4pPr marL="91438" indent="182876">
              <a:buClr>
                <a:schemeClr val="accent1"/>
              </a:buClr>
              <a:defRPr sz="1200">
                <a:solidFill>
                  <a:schemeClr val="tx1">
                    <a:lumMod val="75000"/>
                    <a:lumOff val="25000"/>
                  </a:schemeClr>
                </a:solidFill>
                <a:latin typeface="Arial"/>
                <a:cs typeface="Arial"/>
              </a:defRPr>
            </a:lvl4pPr>
            <a:lvl5pPr marL="91438" indent="182876">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8" y="1938867"/>
            <a:ext cx="4021667" cy="2954867"/>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4" name="Content Placeholder 18"/>
          <p:cNvSpPr>
            <a:spLocks noGrp="1"/>
          </p:cNvSpPr>
          <p:nvPr>
            <p:ph sz="quarter" idx="18"/>
          </p:nvPr>
        </p:nvSpPr>
        <p:spPr>
          <a:xfrm>
            <a:off x="4428065" y="1490133"/>
            <a:ext cx="4326468" cy="3403600"/>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33" y="1260"/>
            <a:ext cx="608540" cy="609103"/>
          </a:xfrm>
          <a:prstGeom prst="rect">
            <a:avLst/>
          </a:prstGeom>
        </p:spPr>
      </p:pic>
    </p:spTree>
    <p:extLst>
      <p:ext uri="{BB962C8B-B14F-4D97-AF65-F5344CB8AC3E}">
        <p14:creationId xmlns:p14="http://schemas.microsoft.com/office/powerpoint/2010/main" val="346709959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778199D2-6445-409A-88DC-D3A5896AC340}" type="datetimeFigureOut">
              <a:rPr lang="en-US" smtClean="0"/>
              <a:t>22/04/18</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9EA12305-F83F-446D-BFF0-EC4BAA04EA2F}" type="slidenum">
              <a:rPr lang="en-US" smtClean="0"/>
              <a:t>‹#›</a:t>
            </a:fld>
            <a:endParaRPr lang="en-US"/>
          </a:p>
        </p:txBody>
      </p:sp>
    </p:spTree>
    <p:extLst>
      <p:ext uri="{BB962C8B-B14F-4D97-AF65-F5344CB8AC3E}">
        <p14:creationId xmlns:p14="http://schemas.microsoft.com/office/powerpoint/2010/main" val="413137274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8_Text and Chart Layout2">
    <p:spTree>
      <p:nvGrpSpPr>
        <p:cNvPr id="1" name=""/>
        <p:cNvGrpSpPr/>
        <p:nvPr/>
      </p:nvGrpSpPr>
      <p:grpSpPr>
        <a:xfrm>
          <a:off x="0" y="0"/>
          <a:ext cx="0" cy="0"/>
          <a:chOff x="0" y="0"/>
          <a:chExt cx="0" cy="0"/>
        </a:xfrm>
      </p:grpSpPr>
      <p:sp>
        <p:nvSpPr>
          <p:cNvPr id="11" name="Rectangle 10"/>
          <p:cNvSpPr/>
          <p:nvPr userDrawn="1"/>
        </p:nvSpPr>
        <p:spPr>
          <a:xfrm>
            <a:off x="0" y="1"/>
            <a:ext cx="6379968" cy="5143500"/>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6" name="Title 1"/>
          <p:cNvSpPr>
            <a:spLocks noGrp="1"/>
          </p:cNvSpPr>
          <p:nvPr>
            <p:ph type="title"/>
          </p:nvPr>
        </p:nvSpPr>
        <p:spPr>
          <a:xfrm>
            <a:off x="6463508" y="924684"/>
            <a:ext cx="2598276" cy="236532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8" name="Text Placeholder 6"/>
          <p:cNvSpPr>
            <a:spLocks noGrp="1"/>
          </p:cNvSpPr>
          <p:nvPr>
            <p:ph type="body" sz="quarter" idx="11"/>
          </p:nvPr>
        </p:nvSpPr>
        <p:spPr>
          <a:xfrm>
            <a:off x="6463508" y="3340041"/>
            <a:ext cx="2598276" cy="1513806"/>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9" name="Text Placeholder 2"/>
          <p:cNvSpPr>
            <a:spLocks noGrp="1"/>
          </p:cNvSpPr>
          <p:nvPr>
            <p:ph type="body" sz="quarter" idx="13" hasCustomPrompt="1"/>
          </p:nvPr>
        </p:nvSpPr>
        <p:spPr>
          <a:xfrm>
            <a:off x="166953" y="148163"/>
            <a:ext cx="1958128" cy="826763"/>
          </a:xfrm>
          <a:prstGeom prst="rect">
            <a:avLst/>
          </a:prstGeom>
        </p:spPr>
        <p:txBody>
          <a:bodyPr/>
          <a:lstStyle>
            <a:lvl1pPr marL="0" marR="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a:t>
            </a:r>
          </a:p>
        </p:txBody>
      </p:sp>
      <p:sp>
        <p:nvSpPr>
          <p:cNvPr id="7" name="Slide Number Placeholder 17"/>
          <p:cNvSpPr>
            <a:spLocks noGrp="1"/>
          </p:cNvSpPr>
          <p:nvPr>
            <p:ph type="sldNum" sz="quarter" idx="12"/>
          </p:nvPr>
        </p:nvSpPr>
        <p:spPr>
          <a:xfrm>
            <a:off x="8852851" y="4921782"/>
            <a:ext cx="290945" cy="220240"/>
          </a:xfrm>
          <a:prstGeom prst="rect">
            <a:avLst/>
          </a:prstGeom>
          <a:ln>
            <a:noFill/>
          </a:ln>
        </p:spPr>
        <p:txBody>
          <a:bodyPr/>
          <a:lstStyle>
            <a:lvl1pPr algn="ctr">
              <a:defRPr sz="599">
                <a:solidFill>
                  <a:schemeClr val="tx1"/>
                </a:solidFill>
              </a:defRPr>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0119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7_Text and Chart Layout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99108"/>
          <a:stretch/>
        </p:blipFill>
        <p:spPr>
          <a:xfrm>
            <a:off x="2071" y="1141283"/>
            <a:ext cx="9141722" cy="3709396"/>
          </a:xfrm>
          <a:prstGeom prst="rect">
            <a:avLst/>
          </a:prstGeom>
        </p:spPr>
      </p:pic>
      <p:sp>
        <p:nvSpPr>
          <p:cNvPr id="8" name="Rectangle 7"/>
          <p:cNvSpPr/>
          <p:nvPr userDrawn="1"/>
        </p:nvSpPr>
        <p:spPr>
          <a:xfrm>
            <a:off x="0" y="1141283"/>
            <a:ext cx="9144000" cy="3709397"/>
          </a:xfrm>
          <a:prstGeom prst="rect">
            <a:avLst/>
          </a:prstGeom>
          <a:blipFill dpi="0" rotWithShape="1">
            <a:blip r:embed="rId3"/>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7" name="Slide Number Placeholder 17"/>
          <p:cNvSpPr>
            <a:spLocks noGrp="1"/>
          </p:cNvSpPr>
          <p:nvPr>
            <p:ph type="sldNum" sz="quarter" idx="12"/>
          </p:nvPr>
        </p:nvSpPr>
        <p:spPr>
          <a:xfrm>
            <a:off x="8852851" y="4921782"/>
            <a:ext cx="290945" cy="220240"/>
          </a:xfrm>
          <a:prstGeom prst="rect">
            <a:avLst/>
          </a:prstGeom>
          <a:ln>
            <a:noFill/>
          </a:ln>
        </p:spPr>
        <p:txBody>
          <a:bodyPr/>
          <a:lstStyle>
            <a:lvl1pPr algn="ctr">
              <a:defRPr sz="599"/>
            </a:lvl1pPr>
          </a:lstStyle>
          <a:p>
            <a:fld id="{A34E5796-B6AC-4C80-ACD7-07B1272A6BDB}" type="slidenum">
              <a:rPr lang="en-US" smtClean="0">
                <a:solidFill>
                  <a:prstClr val="black"/>
                </a:solidFill>
              </a:rPr>
              <a:pPr/>
              <a:t>‹#›</a:t>
            </a:fld>
            <a:endParaRPr lang="en-US">
              <a:solidFill>
                <a:prstClr val="black"/>
              </a:solidFill>
            </a:endParaRPr>
          </a:p>
        </p:txBody>
      </p:sp>
      <p:sp>
        <p:nvSpPr>
          <p:cNvPr id="5" name="Title 1"/>
          <p:cNvSpPr>
            <a:spLocks noGrp="1"/>
          </p:cNvSpPr>
          <p:nvPr>
            <p:ph type="title"/>
          </p:nvPr>
        </p:nvSpPr>
        <p:spPr>
          <a:xfrm>
            <a:off x="96799" y="254123"/>
            <a:ext cx="8325842" cy="41353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3" name="Text Placeholder 2"/>
          <p:cNvSpPr>
            <a:spLocks noGrp="1"/>
          </p:cNvSpPr>
          <p:nvPr>
            <p:ph type="body" sz="quarter" idx="13" hasCustomPrompt="1"/>
          </p:nvPr>
        </p:nvSpPr>
        <p:spPr>
          <a:xfrm>
            <a:off x="247651" y="4245648"/>
            <a:ext cx="8605838" cy="605030"/>
          </a:xfrm>
          <a:prstGeom prst="rect">
            <a:avLst/>
          </a:prstGeom>
        </p:spPr>
        <p:txBody>
          <a:bodyPr/>
          <a:lstStyle>
            <a:lvl1pPr marL="0" marR="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Tree>
    <p:extLst>
      <p:ext uri="{BB962C8B-B14F-4D97-AF65-F5344CB8AC3E}">
        <p14:creationId xmlns:p14="http://schemas.microsoft.com/office/powerpoint/2010/main" val="424442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247651" y="4245648"/>
            <a:ext cx="8605838" cy="605030"/>
          </a:xfrm>
          <a:prstGeom prst="rect">
            <a:avLst/>
          </a:prstGeom>
        </p:spPr>
        <p:txBody>
          <a:bodyPr/>
          <a:lstStyle>
            <a:lvl1pPr marL="0" marR="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566752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4"/>
            <a:ext cx="8238066"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392770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6455802" y="1368504"/>
            <a:ext cx="2059548" cy="955313"/>
          </a:xfrm>
          <a:prstGeom prst="rect">
            <a:avLst/>
          </a:prstGeom>
        </p:spPr>
        <p:txBody>
          <a:bodyPr/>
          <a:lstStyle>
            <a:lvl1pPr marL="0" marR="0" indent="0" algn="just"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a:t>
            </a:r>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95682719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a:lstStyle>
            <a:lvl1pPr>
              <a:lnSpc>
                <a:spcPct val="80000"/>
              </a:lnSpc>
              <a:defRPr sz="4796"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39"/>
            <a:ext cx="8229600" cy="979487"/>
          </a:xfrm>
          <a:prstGeom prst="rect">
            <a:avLst/>
          </a:prstGeom>
        </p:spPr>
        <p:txBody>
          <a:bodyPr vert="horz"/>
          <a:lstStyle>
            <a:lvl1pPr marL="0" indent="0" algn="ctr">
              <a:buNone/>
              <a:defRPr sz="1799"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371052355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7"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13" indent="-274061">
              <a:spcBef>
                <a:spcPts val="0"/>
              </a:spcBef>
              <a:spcAft>
                <a:spcPts val="899"/>
              </a:spcAft>
              <a:buClr>
                <a:schemeClr val="accent1"/>
              </a:buClr>
              <a:defRPr sz="1598" spc="-30">
                <a:solidFill>
                  <a:schemeClr val="tx1">
                    <a:lumMod val="85000"/>
                    <a:lumOff val="15000"/>
                  </a:schemeClr>
                </a:solidFill>
                <a:latin typeface="Arial"/>
                <a:cs typeface="Arial"/>
              </a:defRPr>
            </a:lvl2pPr>
            <a:lvl3pPr marL="548118" indent="-182707">
              <a:spcBef>
                <a:spcPts val="0"/>
              </a:spcBef>
              <a:spcAft>
                <a:spcPts val="899"/>
              </a:spcAft>
              <a:buClr>
                <a:schemeClr val="accent1"/>
              </a:buClr>
              <a:defRPr sz="1598" spc="-30">
                <a:solidFill>
                  <a:schemeClr val="tx1">
                    <a:lumMod val="85000"/>
                    <a:lumOff val="15000"/>
                  </a:schemeClr>
                </a:solidFill>
                <a:latin typeface="Arial"/>
                <a:cs typeface="Arial"/>
              </a:defRPr>
            </a:lvl3pPr>
            <a:lvl4pPr marL="91353" indent="182707">
              <a:buClr>
                <a:schemeClr val="accent1"/>
              </a:buClr>
              <a:defRPr sz="1199">
                <a:solidFill>
                  <a:schemeClr val="tx1">
                    <a:lumMod val="75000"/>
                    <a:lumOff val="25000"/>
                  </a:schemeClr>
                </a:solidFill>
                <a:latin typeface="Arial"/>
                <a:cs typeface="Arial"/>
              </a:defRPr>
            </a:lvl4pPr>
            <a:lvl5pPr marL="91353" indent="182707">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70" y="1938868"/>
            <a:ext cx="4021667" cy="2954867"/>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23" name="Text Placeholder 2"/>
          <p:cNvSpPr>
            <a:spLocks noGrp="1"/>
          </p:cNvSpPr>
          <p:nvPr>
            <p:ph type="body" sz="quarter" idx="17"/>
          </p:nvPr>
        </p:nvSpPr>
        <p:spPr>
          <a:xfrm>
            <a:off x="4425295"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13" indent="-274061">
              <a:spcBef>
                <a:spcPts val="0"/>
              </a:spcBef>
              <a:spcAft>
                <a:spcPts val="899"/>
              </a:spcAft>
              <a:buClr>
                <a:schemeClr val="accent1"/>
              </a:buClr>
              <a:defRPr sz="1598" spc="-30">
                <a:solidFill>
                  <a:schemeClr val="tx1">
                    <a:lumMod val="85000"/>
                    <a:lumOff val="15000"/>
                  </a:schemeClr>
                </a:solidFill>
                <a:latin typeface="Arial"/>
                <a:cs typeface="Arial"/>
              </a:defRPr>
            </a:lvl2pPr>
            <a:lvl3pPr marL="548118" indent="-182707">
              <a:spcBef>
                <a:spcPts val="0"/>
              </a:spcBef>
              <a:spcAft>
                <a:spcPts val="899"/>
              </a:spcAft>
              <a:buClr>
                <a:schemeClr val="accent1"/>
              </a:buClr>
              <a:defRPr sz="1598" spc="-30">
                <a:solidFill>
                  <a:schemeClr val="tx1">
                    <a:lumMod val="85000"/>
                    <a:lumOff val="15000"/>
                  </a:schemeClr>
                </a:solidFill>
                <a:latin typeface="Arial"/>
                <a:cs typeface="Arial"/>
              </a:defRPr>
            </a:lvl3pPr>
            <a:lvl4pPr marL="91353" indent="182707">
              <a:buClr>
                <a:schemeClr val="accent1"/>
              </a:buClr>
              <a:defRPr sz="1199">
                <a:solidFill>
                  <a:schemeClr val="tx1">
                    <a:lumMod val="75000"/>
                    <a:lumOff val="25000"/>
                  </a:schemeClr>
                </a:solidFill>
                <a:latin typeface="Arial"/>
                <a:cs typeface="Arial"/>
              </a:defRPr>
            </a:lvl4pPr>
            <a:lvl5pPr marL="91353" indent="182707">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4" name="Content Placeholder 18"/>
          <p:cNvSpPr>
            <a:spLocks noGrp="1"/>
          </p:cNvSpPr>
          <p:nvPr>
            <p:ph sz="quarter" idx="18"/>
          </p:nvPr>
        </p:nvSpPr>
        <p:spPr>
          <a:xfrm>
            <a:off x="4428068" y="1938868"/>
            <a:ext cx="4021667" cy="2954867"/>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8"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9"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45164661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7" y="1490135"/>
            <a:ext cx="824344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13" indent="-274061">
              <a:spcBef>
                <a:spcPts val="0"/>
              </a:spcBef>
              <a:spcAft>
                <a:spcPts val="899"/>
              </a:spcAft>
              <a:buClr>
                <a:schemeClr val="accent1"/>
              </a:buClr>
              <a:defRPr sz="1598" spc="-30">
                <a:solidFill>
                  <a:schemeClr val="tx1">
                    <a:lumMod val="85000"/>
                    <a:lumOff val="15000"/>
                  </a:schemeClr>
                </a:solidFill>
                <a:latin typeface="Arial"/>
                <a:cs typeface="Arial"/>
              </a:defRPr>
            </a:lvl2pPr>
            <a:lvl3pPr marL="548118" indent="-182707">
              <a:spcBef>
                <a:spcPts val="0"/>
              </a:spcBef>
              <a:spcAft>
                <a:spcPts val="899"/>
              </a:spcAft>
              <a:buClr>
                <a:schemeClr val="accent1"/>
              </a:buClr>
              <a:defRPr sz="1598" spc="-30">
                <a:solidFill>
                  <a:schemeClr val="tx1">
                    <a:lumMod val="85000"/>
                    <a:lumOff val="15000"/>
                  </a:schemeClr>
                </a:solidFill>
                <a:latin typeface="Arial"/>
                <a:cs typeface="Arial"/>
              </a:defRPr>
            </a:lvl3pPr>
            <a:lvl4pPr marL="91353" indent="182707">
              <a:buClr>
                <a:schemeClr val="accent1"/>
              </a:buClr>
              <a:defRPr sz="1199">
                <a:solidFill>
                  <a:schemeClr val="tx1">
                    <a:lumMod val="75000"/>
                    <a:lumOff val="25000"/>
                  </a:schemeClr>
                </a:solidFill>
                <a:latin typeface="Arial"/>
                <a:cs typeface="Arial"/>
              </a:defRPr>
            </a:lvl4pPr>
            <a:lvl5pPr marL="91353" indent="182707">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67" y="1938868"/>
            <a:ext cx="8238066" cy="2954867"/>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9482114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20" name="Content Placeholder 18"/>
          <p:cNvSpPr>
            <a:spLocks noGrp="1"/>
          </p:cNvSpPr>
          <p:nvPr>
            <p:ph sz="quarter" idx="16"/>
          </p:nvPr>
        </p:nvSpPr>
        <p:spPr>
          <a:xfrm>
            <a:off x="211667" y="1490135"/>
            <a:ext cx="8238066" cy="3403601"/>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61695185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ubble Screenshot">
    <p:spTree>
      <p:nvGrpSpPr>
        <p:cNvPr id="1" name=""/>
        <p:cNvGrpSpPr/>
        <p:nvPr/>
      </p:nvGrpSpPr>
      <p:grpSpPr>
        <a:xfrm>
          <a:off x="0" y="0"/>
          <a:ext cx="0" cy="0"/>
          <a:chOff x="0" y="0"/>
          <a:chExt cx="0" cy="0"/>
        </a:xfrm>
      </p:grpSpPr>
      <p:sp>
        <p:nvSpPr>
          <p:cNvPr id="7" name="Rectangle 6"/>
          <p:cNvSpPr/>
          <p:nvPr/>
        </p:nvSpPr>
        <p:spPr>
          <a:xfrm>
            <a:off x="0" y="1141727"/>
            <a:ext cx="9144000" cy="3811275"/>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8" name="Text Placeholder 2"/>
          <p:cNvSpPr>
            <a:spLocks noGrp="1"/>
          </p:cNvSpPr>
          <p:nvPr>
            <p:ph type="body" sz="quarter" idx="11"/>
          </p:nvPr>
        </p:nvSpPr>
        <p:spPr>
          <a:xfrm>
            <a:off x="6196086" y="1312509"/>
            <a:ext cx="2808406" cy="353524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bg1"/>
                </a:solidFill>
                <a:latin typeface="Arial"/>
                <a:cs typeface="Arial"/>
              </a:defRPr>
            </a:lvl1pPr>
            <a:lvl2pPr marL="91353" indent="182707">
              <a:lnSpc>
                <a:spcPts val="1699"/>
              </a:lnSpc>
              <a:spcBef>
                <a:spcPts val="0"/>
              </a:spcBef>
              <a:spcAft>
                <a:spcPts val="300"/>
              </a:spcAft>
              <a:buClr>
                <a:schemeClr val="accent1"/>
              </a:buClr>
              <a:buFont typeface="Arial" panose="020B0604020202020204" pitchFamily="34" charset="0"/>
              <a:buChar char="•"/>
              <a:defRPr sz="1199" spc="-30" baseline="0">
                <a:solidFill>
                  <a:schemeClr val="bg1"/>
                </a:solidFill>
                <a:latin typeface="Arial"/>
                <a:cs typeface="Arial"/>
              </a:defRPr>
            </a:lvl2pPr>
            <a:lvl3pPr marL="91353" indent="182707">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79" indent="171288">
              <a:spcAft>
                <a:spcPts val="300"/>
              </a:spcAft>
              <a:buClr>
                <a:schemeClr val="accent1"/>
              </a:buClr>
              <a:buFont typeface="Arial" panose="020B0604020202020204" pitchFamily="34" charset="0"/>
              <a:buChar char="•"/>
              <a:defRPr sz="1199" spc="-30" baseline="0">
                <a:solidFill>
                  <a:schemeClr val="bg1"/>
                </a:solidFill>
                <a:latin typeface="Arial"/>
                <a:cs typeface="Arial"/>
              </a:defRPr>
            </a:lvl4pPr>
            <a:lvl5pPr marL="456766" indent="228383">
              <a:spcAft>
                <a:spcPts val="300"/>
              </a:spcAft>
              <a:buClr>
                <a:schemeClr val="accent1"/>
              </a:buClr>
              <a:buFont typeface="Arial" panose="020B0604020202020204" pitchFamily="34" charset="0"/>
              <a:buChar char="•"/>
              <a:defRPr sz="1199" spc="-30" baseline="0">
                <a:solidFill>
                  <a:schemeClr val="bg1"/>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pic>
        <p:nvPicPr>
          <p:cNvPr id="512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6291" y="4661858"/>
            <a:ext cx="1498665" cy="28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10" name="Text Placeholder 6"/>
          <p:cNvSpPr>
            <a:spLocks noGrp="1"/>
          </p:cNvSpPr>
          <p:nvPr>
            <p:ph type="body" sz="quarter" idx="12"/>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7222159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sights BG 75 - 4 Charts">
    <p:spTree>
      <p:nvGrpSpPr>
        <p:cNvPr id="1" name=""/>
        <p:cNvGrpSpPr/>
        <p:nvPr/>
      </p:nvGrpSpPr>
      <p:grpSpPr>
        <a:xfrm>
          <a:off x="0" y="0"/>
          <a:ext cx="0" cy="0"/>
          <a:chOff x="0" y="0"/>
          <a:chExt cx="0" cy="0"/>
        </a:xfrm>
      </p:grpSpPr>
      <p:sp>
        <p:nvSpPr>
          <p:cNvPr id="10" name="Rectangle 9"/>
          <p:cNvSpPr/>
          <p:nvPr userDrawn="1"/>
        </p:nvSpPr>
        <p:spPr>
          <a:xfrm>
            <a:off x="1" y="2"/>
            <a:ext cx="633719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15" name="Title Placeholder 1"/>
          <p:cNvSpPr>
            <a:spLocks noGrp="1"/>
          </p:cNvSpPr>
          <p:nvPr>
            <p:ph type="title" hasCustomPrompt="1"/>
          </p:nvPr>
        </p:nvSpPr>
        <p:spPr>
          <a:xfrm>
            <a:off x="6497180" y="258673"/>
            <a:ext cx="2468913" cy="742387"/>
          </a:xfrm>
          <a:prstGeom prst="rect">
            <a:avLst/>
          </a:prstGeom>
        </p:spPr>
        <p:txBody>
          <a:bodyPr vert="horz" lIns="91440" tIns="45720" rIns="91440" bIns="45720" rtlCol="0" anchor="t">
            <a:normAutofit/>
          </a:bodyPr>
          <a:lstStyle>
            <a:lvl1pPr>
              <a:defRPr sz="1799"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6495394" y="1028702"/>
            <a:ext cx="2470527" cy="392976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tx1">
                    <a:lumMod val="85000"/>
                    <a:lumOff val="15000"/>
                  </a:schemeClr>
                </a:solidFill>
                <a:latin typeface="Arial"/>
                <a:cs typeface="Arial"/>
              </a:defRPr>
            </a:lvl1pPr>
            <a:lvl2pPr marL="91353" indent="182707">
              <a:lnSpc>
                <a:spcPts val="1699"/>
              </a:lnSpc>
              <a:spcBef>
                <a:spcPts val="0"/>
              </a:spcBef>
              <a:spcAft>
                <a:spcPts val="300"/>
              </a:spcAft>
              <a:buClr>
                <a:schemeClr val="accent1"/>
              </a:buClr>
              <a:buFont typeface="Arial" panose="020B0604020202020204" pitchFamily="34" charset="0"/>
              <a:buChar char="•"/>
              <a:defRPr sz="1199" spc="-30" baseline="0">
                <a:solidFill>
                  <a:schemeClr val="tx1">
                    <a:lumMod val="85000"/>
                    <a:lumOff val="15000"/>
                  </a:schemeClr>
                </a:solidFill>
                <a:latin typeface="Arial"/>
                <a:cs typeface="Arial"/>
              </a:defRPr>
            </a:lvl2pPr>
            <a:lvl3pPr marL="91353" indent="182707">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79" indent="171288">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4pPr>
            <a:lvl5pPr marL="456766" indent="228383">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1" name="Content Placeholder 18"/>
          <p:cNvSpPr>
            <a:spLocks noGrp="1"/>
          </p:cNvSpPr>
          <p:nvPr>
            <p:ph sz="quarter" idx="12" hasCustomPrompt="1"/>
          </p:nvPr>
        </p:nvSpPr>
        <p:spPr>
          <a:xfrm>
            <a:off x="37007" y="861369"/>
            <a:ext cx="3108960" cy="1828801"/>
          </a:xfrm>
          <a:prstGeom prst="rect">
            <a:avLst/>
          </a:prstGeom>
        </p:spPr>
        <p:txBody>
          <a:bodyPr vert="horz"/>
          <a:lstStyle>
            <a:lvl1pPr marL="0" indent="0">
              <a:buNone/>
              <a:defRPr sz="1099" spc="0">
                <a:solidFill>
                  <a:srgbClr val="FFFFFF"/>
                </a:solidFill>
                <a:latin typeface="Arial"/>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33" name="Slide Number Placeholder 17"/>
          <p:cNvSpPr txBox="1">
            <a:spLocks/>
          </p:cNvSpPr>
          <p:nvPr userDrawn="1"/>
        </p:nvSpPr>
        <p:spPr>
          <a:xfrm>
            <a:off x="5934220" y="4958465"/>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599" smtClean="0">
                <a:solidFill>
                  <a:prstClr val="white">
                    <a:lumMod val="85000"/>
                  </a:prstClr>
                </a:solidFill>
              </a:rPr>
              <a:pPr algn="r"/>
              <a:t>‹#›</a:t>
            </a:fld>
            <a:endParaRPr lang="en-US" sz="599" dirty="0">
              <a:solidFill>
                <a:prstClr val="white">
                  <a:lumMod val="85000"/>
                </a:prstClr>
              </a:solidFill>
            </a:endParaRPr>
          </a:p>
        </p:txBody>
      </p:sp>
      <p:sp>
        <p:nvSpPr>
          <p:cNvPr id="12" name="Text Placeholder 2"/>
          <p:cNvSpPr>
            <a:spLocks noGrp="1"/>
          </p:cNvSpPr>
          <p:nvPr>
            <p:ph type="body" sz="quarter" idx="13" hasCustomPrompt="1"/>
          </p:nvPr>
        </p:nvSpPr>
        <p:spPr>
          <a:xfrm>
            <a:off x="1138" y="581025"/>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66" indent="0">
              <a:buNone/>
              <a:defRPr sz="1199">
                <a:solidFill>
                  <a:schemeClr val="bg1"/>
                </a:solidFill>
              </a:defRPr>
            </a:lvl2pPr>
            <a:lvl3pPr marL="913532" indent="0">
              <a:buNone/>
              <a:defRPr sz="1199">
                <a:solidFill>
                  <a:schemeClr val="bg1"/>
                </a:solidFill>
              </a:defRPr>
            </a:lvl3pPr>
            <a:lvl4pPr marL="1370297" indent="0">
              <a:buNone/>
              <a:defRPr sz="1199">
                <a:solidFill>
                  <a:schemeClr val="bg1"/>
                </a:solidFill>
              </a:defRPr>
            </a:lvl4pPr>
            <a:lvl5pPr marL="1827062" indent="0">
              <a:buNone/>
              <a:defRPr sz="1199">
                <a:solidFill>
                  <a:schemeClr val="bg1"/>
                </a:solidFill>
              </a:defRPr>
            </a:lvl5pPr>
          </a:lstStyle>
          <a:p>
            <a:pPr lvl="0"/>
            <a:r>
              <a:rPr lang="en-US" dirty="0"/>
              <a:t>Click To Edit Master Text Styles</a:t>
            </a:r>
          </a:p>
        </p:txBody>
      </p:sp>
      <p:sp>
        <p:nvSpPr>
          <p:cNvPr id="9" name="Content Placeholder 18"/>
          <p:cNvSpPr>
            <a:spLocks noGrp="1"/>
          </p:cNvSpPr>
          <p:nvPr>
            <p:ph sz="quarter" idx="14" hasCustomPrompt="1"/>
          </p:nvPr>
        </p:nvSpPr>
        <p:spPr>
          <a:xfrm>
            <a:off x="3191339" y="861369"/>
            <a:ext cx="3108960" cy="1828801"/>
          </a:xfrm>
          <a:prstGeom prst="rect">
            <a:avLst/>
          </a:prstGeom>
        </p:spPr>
        <p:txBody>
          <a:bodyPr vert="horz"/>
          <a:lstStyle>
            <a:lvl1pPr marL="0" indent="0">
              <a:buNone/>
              <a:defRPr lang="en-US" sz="1099" kern="1200" spc="0" baseline="0" dirty="0" smtClean="0">
                <a:solidFill>
                  <a:srgbClr val="FFFFFF"/>
                </a:solidFill>
                <a:latin typeface="Arial"/>
                <a:ea typeface="+mn-ea"/>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marL="0" lvl="0" indent="0" algn="l" defTabSz="456766" rtl="0" eaLnBrk="1" latinLnBrk="0" hangingPunct="1">
              <a:spcBef>
                <a:spcPct val="20000"/>
              </a:spcBef>
              <a:buFont typeface="Arial"/>
              <a:buNone/>
            </a:pPr>
            <a:r>
              <a:rPr lang="en-US" dirty="0"/>
              <a:t>Click to add chart</a:t>
            </a:r>
          </a:p>
        </p:txBody>
      </p:sp>
      <p:sp>
        <p:nvSpPr>
          <p:cNvPr id="11" name="Content Placeholder 18"/>
          <p:cNvSpPr>
            <a:spLocks noGrp="1"/>
          </p:cNvSpPr>
          <p:nvPr>
            <p:ph sz="quarter" idx="15" hasCustomPrompt="1"/>
          </p:nvPr>
        </p:nvSpPr>
        <p:spPr>
          <a:xfrm>
            <a:off x="37007" y="3084052"/>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13" name="Text Placeholder 2"/>
          <p:cNvSpPr>
            <a:spLocks noGrp="1"/>
          </p:cNvSpPr>
          <p:nvPr>
            <p:ph type="body" sz="quarter" idx="16" hasCustomPrompt="1"/>
          </p:nvPr>
        </p:nvSpPr>
        <p:spPr>
          <a:xfrm>
            <a:off x="1138" y="2796883"/>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66" indent="0">
              <a:buNone/>
              <a:defRPr sz="1199">
                <a:solidFill>
                  <a:schemeClr val="bg1"/>
                </a:solidFill>
              </a:defRPr>
            </a:lvl2pPr>
            <a:lvl3pPr marL="913532" indent="0">
              <a:buNone/>
              <a:defRPr sz="1199">
                <a:solidFill>
                  <a:schemeClr val="bg1"/>
                </a:solidFill>
              </a:defRPr>
            </a:lvl3pPr>
            <a:lvl4pPr marL="1370297" indent="0">
              <a:buNone/>
              <a:defRPr sz="1199">
                <a:solidFill>
                  <a:schemeClr val="bg1"/>
                </a:solidFill>
              </a:defRPr>
            </a:lvl4pPr>
            <a:lvl5pPr marL="1827062" indent="0">
              <a:buNone/>
              <a:defRPr sz="1199">
                <a:solidFill>
                  <a:schemeClr val="bg1"/>
                </a:solidFill>
              </a:defRPr>
            </a:lvl5pPr>
          </a:lstStyle>
          <a:p>
            <a:pPr lvl="0"/>
            <a:r>
              <a:rPr lang="en-US" dirty="0"/>
              <a:t>Click To Edit Master Text Styles</a:t>
            </a:r>
          </a:p>
        </p:txBody>
      </p:sp>
      <p:sp>
        <p:nvSpPr>
          <p:cNvPr id="14" name="Content Placeholder 18"/>
          <p:cNvSpPr>
            <a:spLocks noGrp="1"/>
          </p:cNvSpPr>
          <p:nvPr>
            <p:ph sz="quarter" idx="17" hasCustomPrompt="1"/>
          </p:nvPr>
        </p:nvSpPr>
        <p:spPr>
          <a:xfrm>
            <a:off x="3191339" y="3084052"/>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Tree>
    <p:extLst>
      <p:ext uri="{BB962C8B-B14F-4D97-AF65-F5344CB8AC3E}">
        <p14:creationId xmlns:p14="http://schemas.microsoft.com/office/powerpoint/2010/main" val="9184312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18" name="Title Placeholder 1"/>
          <p:cNvSpPr>
            <a:spLocks noGrp="1"/>
          </p:cNvSpPr>
          <p:nvPr>
            <p:ph type="title" hasCustomPrompt="1"/>
          </p:nvPr>
        </p:nvSpPr>
        <p:spPr>
          <a:xfrm>
            <a:off x="287871" y="414869"/>
            <a:ext cx="2836333" cy="4258733"/>
          </a:xfrm>
          <a:prstGeom prst="rect">
            <a:avLst/>
          </a:prstGeom>
        </p:spPr>
        <p:txBody>
          <a:bodyPr vert="horz" lIns="91440" tIns="45720" rIns="91440" bIns="45720" rtlCol="0" anchor="ctr">
            <a:noAutofit/>
          </a:bodyPr>
          <a:lstStyle>
            <a:lvl1pPr>
              <a:lnSpc>
                <a:spcPct val="85000"/>
              </a:lnSpc>
              <a:defRPr sz="3996" baseline="0"/>
            </a:lvl1pPr>
          </a:lstStyle>
          <a:p>
            <a:r>
              <a:rPr lang="en-US" dirty="0"/>
              <a:t>Title</a:t>
            </a:r>
          </a:p>
        </p:txBody>
      </p:sp>
      <p:sp>
        <p:nvSpPr>
          <p:cNvPr id="19" name="Text Placeholder 2"/>
          <p:cNvSpPr>
            <a:spLocks noGrp="1"/>
          </p:cNvSpPr>
          <p:nvPr>
            <p:ph type="body" sz="quarter" idx="12" hasCustomPrompt="1"/>
          </p:nvPr>
        </p:nvSpPr>
        <p:spPr>
          <a:xfrm>
            <a:off x="3826936" y="414863"/>
            <a:ext cx="4616435" cy="4250265"/>
          </a:xfrm>
          <a:prstGeom prst="rect">
            <a:avLst/>
          </a:prstGeom>
        </p:spPr>
        <p:txBody>
          <a:bodyPr vert="horz" lIns="0" tIns="0" rIns="0" bIns="0" anchor="ctr"/>
          <a:lstStyle>
            <a:lvl1pPr marL="0" indent="0" algn="l">
              <a:lnSpc>
                <a:spcPts val="3077"/>
              </a:lnSpc>
              <a:spcBef>
                <a:spcPts val="0"/>
              </a:spcBef>
              <a:spcAft>
                <a:spcPts val="1799"/>
              </a:spcAft>
              <a:buClr>
                <a:schemeClr val="accent1"/>
              </a:buClr>
              <a:buNone/>
              <a:defRPr sz="2398" spc="-30" baseline="0">
                <a:solidFill>
                  <a:schemeClr val="tx1"/>
                </a:solidFill>
                <a:latin typeface="Arial"/>
                <a:cs typeface="Arial"/>
              </a:defRPr>
            </a:lvl1pPr>
            <a:lvl2pPr marL="365404" indent="-274052">
              <a:spcBef>
                <a:spcPts val="0"/>
              </a:spcBef>
              <a:spcAft>
                <a:spcPts val="899"/>
              </a:spcAft>
              <a:buClr>
                <a:schemeClr val="accent1"/>
              </a:buClr>
              <a:defRPr sz="1598" spc="-30">
                <a:solidFill>
                  <a:schemeClr val="tx1">
                    <a:lumMod val="85000"/>
                    <a:lumOff val="15000"/>
                  </a:schemeClr>
                </a:solidFill>
                <a:latin typeface="Arial"/>
                <a:cs typeface="Arial"/>
              </a:defRPr>
            </a:lvl2pPr>
            <a:lvl3pPr marL="548106" indent="-182702">
              <a:spcBef>
                <a:spcPts val="0"/>
              </a:spcBef>
              <a:spcAft>
                <a:spcPts val="899"/>
              </a:spcAft>
              <a:buClr>
                <a:schemeClr val="accent1"/>
              </a:buClr>
              <a:defRPr sz="1598" spc="-30">
                <a:solidFill>
                  <a:schemeClr val="tx1">
                    <a:lumMod val="85000"/>
                    <a:lumOff val="15000"/>
                  </a:schemeClr>
                </a:solidFill>
                <a:latin typeface="Arial"/>
                <a:cs typeface="Arial"/>
              </a:defRPr>
            </a:lvl3pPr>
            <a:lvl4pPr marL="91352" indent="182702">
              <a:buClr>
                <a:schemeClr val="accent1"/>
              </a:buClr>
              <a:defRPr sz="1199">
                <a:solidFill>
                  <a:schemeClr val="tx1">
                    <a:lumMod val="75000"/>
                    <a:lumOff val="25000"/>
                  </a:schemeClr>
                </a:solidFill>
                <a:latin typeface="Arial"/>
                <a:cs typeface="Arial"/>
              </a:defRPr>
            </a:lvl4pPr>
            <a:lvl5pPr marL="91352" indent="182702">
              <a:buClr>
                <a:schemeClr val="accent1"/>
              </a:buClr>
              <a:defRPr sz="1199">
                <a:solidFill>
                  <a:schemeClr val="tx1">
                    <a:lumMod val="75000"/>
                    <a:lumOff val="25000"/>
                  </a:schemeClr>
                </a:solidFill>
                <a:latin typeface="Arial"/>
                <a:cs typeface="Arial"/>
              </a:defRPr>
            </a:lvl5pPr>
          </a:lstStyle>
          <a:p>
            <a:pPr lvl="0"/>
            <a:r>
              <a:rPr lang="en-US" dirty="0"/>
              <a:t>Agenda Item 1</a:t>
            </a:r>
          </a:p>
          <a:p>
            <a:pPr lvl="0"/>
            <a:r>
              <a:rPr lang="en-US" dirty="0"/>
              <a:t>Agenda Item 2</a:t>
            </a:r>
          </a:p>
          <a:p>
            <a:pPr lvl="0"/>
            <a:r>
              <a:rPr lang="en-US" dirty="0"/>
              <a:t>Agenda Item 3</a:t>
            </a:r>
          </a:p>
          <a:p>
            <a:pPr lvl="0"/>
            <a:r>
              <a:rPr lang="en-US" dirty="0"/>
              <a:t>Agenda Item 4</a:t>
            </a:r>
          </a:p>
          <a:p>
            <a:pPr lvl="0"/>
            <a:r>
              <a:rPr lang="en-US" dirty="0"/>
              <a:t>Agenda Item 5</a:t>
            </a:r>
          </a:p>
        </p:txBody>
      </p:sp>
      <p:cxnSp>
        <p:nvCxnSpPr>
          <p:cNvPr id="3" name="Straight Connector 2"/>
          <p:cNvCxnSpPr/>
          <p:nvPr/>
        </p:nvCxnSpPr>
        <p:spPr>
          <a:xfrm>
            <a:off x="3420533" y="414868"/>
            <a:ext cx="0" cy="4267201"/>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007"/>
          <a:stretch/>
        </p:blipFill>
        <p:spPr>
          <a:xfrm>
            <a:off x="8451686" y="2"/>
            <a:ext cx="610101" cy="555665"/>
          </a:xfrm>
          <a:prstGeom prst="rect">
            <a:avLst/>
          </a:prstGeom>
        </p:spPr>
      </p:pic>
    </p:spTree>
    <p:extLst>
      <p:ext uri="{BB962C8B-B14F-4D97-AF65-F5344CB8AC3E}">
        <p14:creationId xmlns:p14="http://schemas.microsoft.com/office/powerpoint/2010/main" val="19521420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0"/>
            <a:ext cx="2011514" cy="1853031"/>
          </a:xfrm>
          <a:prstGeom prst="rect">
            <a:avLst/>
          </a:prstGeom>
        </p:spPr>
      </p:pic>
      <p:sp>
        <p:nvSpPr>
          <p:cNvPr id="21" name="Title 15"/>
          <p:cNvSpPr>
            <a:spLocks noGrp="1"/>
          </p:cNvSpPr>
          <p:nvPr>
            <p:ph type="title" hasCustomPrompt="1"/>
          </p:nvPr>
        </p:nvSpPr>
        <p:spPr>
          <a:xfrm>
            <a:off x="573517"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201607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18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824344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8238066"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8096480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58658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493878"/>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31951"/>
            <a:ext cx="8540496" cy="246855"/>
          </a:xfrm>
          <a:prstGeom prst="rect">
            <a:avLst/>
          </a:prstGeom>
          <a:ln w="76200" cmpd="sng">
            <a:noFill/>
          </a:ln>
          <a:effectLst/>
        </p:spPr>
        <p:txBody>
          <a:bodyPr vert="horz" wrap="square" lIns="91440" tIns="0" rIns="0" bIns="0" rtlCol="0" anchor="b">
            <a:spAutoFit/>
          </a:bodyPr>
          <a:lstStyle>
            <a:lvl1pPr marL="342900" indent="-342900"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62412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69194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92526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1"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411134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45993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51683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7390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0"/>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5"/>
            <a:ext cx="5334000" cy="3022810"/>
          </a:xfrm>
          <a:prstGeom prst="rect">
            <a:avLst/>
          </a:prstGeom>
        </p:spPr>
        <p:txBody>
          <a:bodyPr anchor="t"/>
          <a:lstStyle>
            <a:lvl1pPr marL="0" marR="0" indent="0" algn="l" defTabSz="457200" rtl="0" eaLnBrk="1" fontAlgn="auto" latinLnBrk="0" hangingPunct="1">
              <a:lnSpc>
                <a:spcPct val="200000"/>
              </a:lnSpc>
              <a:spcBef>
                <a:spcPts val="0"/>
              </a:spcBef>
              <a:spcAft>
                <a:spcPts val="0"/>
              </a:spcAft>
              <a:buClr>
                <a:schemeClr val="accent3"/>
              </a:buClr>
              <a:buSzTx/>
              <a:buFont typeface="Wingdings" charset="2"/>
              <a:buNone/>
              <a:tabLst/>
              <a:defRPr/>
            </a:lvl1pPr>
            <a:lvl2pPr marL="336042" indent="0">
              <a:buNone/>
              <a:defRPr/>
            </a:lvl2pPr>
            <a:lvl3pPr marL="502920" indent="0">
              <a:buNone/>
              <a:defRPr/>
            </a:lvl3pPr>
            <a:lvl4pPr marL="685800" indent="0">
              <a:buNone/>
              <a:defRPr/>
            </a:lvl4pPr>
            <a:lvl5pPr marL="685800" indent="0">
              <a:buNone/>
              <a:defRPr/>
            </a:lvl5pPr>
          </a:lstStyle>
          <a:p>
            <a:pPr lvl="0"/>
            <a:r>
              <a:rPr lang="en-US" dirty="0"/>
              <a:t>Agenda Line Item 1</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6" y="-8355"/>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80476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lIns="91376" tIns="45688" rIns="91376" bIns="45688"/>
          <a:lstStyle>
            <a:lvl1pPr>
              <a:lnSpc>
                <a:spcPct val="80000"/>
              </a:lnSpc>
              <a:defRPr sz="4800"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54"/>
            <a:ext cx="8229600" cy="979487"/>
          </a:xfrm>
          <a:prstGeom prst="rect">
            <a:avLst/>
          </a:prstGeom>
        </p:spPr>
        <p:txBody>
          <a:bodyPr vert="horz" lIns="91376" tIns="45688" rIns="91376" bIns="45688"/>
          <a:lstStyle>
            <a:lvl1pPr marL="0" indent="0" algn="ctr">
              <a:buNone/>
              <a:defRPr sz="1800"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37009173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3" name="Text Placeholder 2"/>
          <p:cNvSpPr>
            <a:spLocks noGrp="1"/>
          </p:cNvSpPr>
          <p:nvPr>
            <p:ph type="body" sz="quarter" idx="17"/>
          </p:nvPr>
        </p:nvSpPr>
        <p:spPr>
          <a:xfrm>
            <a:off x="4425292"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4" name="Content Placeholder 18"/>
          <p:cNvSpPr>
            <a:spLocks noGrp="1"/>
          </p:cNvSpPr>
          <p:nvPr>
            <p:ph sz="quarter" idx="18"/>
          </p:nvPr>
        </p:nvSpPr>
        <p:spPr>
          <a:xfrm>
            <a:off x="4428065"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090868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8_Text and Chart Layout2">
    <p:spTree>
      <p:nvGrpSpPr>
        <p:cNvPr id="1" name=""/>
        <p:cNvGrpSpPr/>
        <p:nvPr/>
      </p:nvGrpSpPr>
      <p:grpSpPr>
        <a:xfrm>
          <a:off x="0" y="0"/>
          <a:ext cx="0" cy="0"/>
          <a:chOff x="0" y="0"/>
          <a:chExt cx="0" cy="0"/>
        </a:xfrm>
      </p:grpSpPr>
      <p:sp>
        <p:nvSpPr>
          <p:cNvPr id="11" name="Rectangle 10"/>
          <p:cNvSpPr/>
          <p:nvPr userDrawn="1"/>
        </p:nvSpPr>
        <p:spPr>
          <a:xfrm>
            <a:off x="0" y="1"/>
            <a:ext cx="6379968" cy="5143500"/>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6" name="Title 1"/>
          <p:cNvSpPr>
            <a:spLocks noGrp="1"/>
          </p:cNvSpPr>
          <p:nvPr>
            <p:ph type="title"/>
          </p:nvPr>
        </p:nvSpPr>
        <p:spPr>
          <a:xfrm>
            <a:off x="6463508" y="924684"/>
            <a:ext cx="2598276" cy="236532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8" name="Text Placeholder 6"/>
          <p:cNvSpPr>
            <a:spLocks noGrp="1"/>
          </p:cNvSpPr>
          <p:nvPr>
            <p:ph type="body" sz="quarter" idx="11"/>
          </p:nvPr>
        </p:nvSpPr>
        <p:spPr>
          <a:xfrm>
            <a:off x="6463508" y="3340041"/>
            <a:ext cx="2598276" cy="1513806"/>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9" name="Text Placeholder 2"/>
          <p:cNvSpPr>
            <a:spLocks noGrp="1"/>
          </p:cNvSpPr>
          <p:nvPr>
            <p:ph type="body" sz="quarter" idx="13" hasCustomPrompt="1"/>
          </p:nvPr>
        </p:nvSpPr>
        <p:spPr>
          <a:xfrm>
            <a:off x="166953" y="148163"/>
            <a:ext cx="1958128" cy="826763"/>
          </a:xfrm>
          <a:prstGeom prst="rect">
            <a:avLst/>
          </a:prstGeom>
        </p:spPr>
        <p:txBody>
          <a:bodyPr/>
          <a:lstStyle>
            <a:lvl1pPr marL="0" marR="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a:t>
            </a:r>
          </a:p>
        </p:txBody>
      </p:sp>
      <p:sp>
        <p:nvSpPr>
          <p:cNvPr id="7" name="Slide Number Placeholder 17"/>
          <p:cNvSpPr>
            <a:spLocks noGrp="1"/>
          </p:cNvSpPr>
          <p:nvPr>
            <p:ph type="sldNum" sz="quarter" idx="12"/>
          </p:nvPr>
        </p:nvSpPr>
        <p:spPr>
          <a:xfrm>
            <a:off x="8852851" y="4921782"/>
            <a:ext cx="290945" cy="220240"/>
          </a:xfrm>
          <a:prstGeom prst="rect">
            <a:avLst/>
          </a:prstGeom>
          <a:ln>
            <a:noFill/>
          </a:ln>
        </p:spPr>
        <p:txBody>
          <a:bodyPr/>
          <a:lstStyle>
            <a:lvl1pPr algn="ctr">
              <a:defRPr sz="599">
                <a:solidFill>
                  <a:schemeClr val="tx1"/>
                </a:solidFill>
              </a:defRPr>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428057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_Text and Chart Layout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99108"/>
          <a:stretch/>
        </p:blipFill>
        <p:spPr>
          <a:xfrm>
            <a:off x="2071" y="1141283"/>
            <a:ext cx="9141722" cy="3709396"/>
          </a:xfrm>
          <a:prstGeom prst="rect">
            <a:avLst/>
          </a:prstGeom>
        </p:spPr>
      </p:pic>
      <p:sp>
        <p:nvSpPr>
          <p:cNvPr id="8" name="Rectangle 7"/>
          <p:cNvSpPr/>
          <p:nvPr userDrawn="1"/>
        </p:nvSpPr>
        <p:spPr>
          <a:xfrm>
            <a:off x="0" y="1141283"/>
            <a:ext cx="9144000" cy="3709397"/>
          </a:xfrm>
          <a:prstGeom prst="rect">
            <a:avLst/>
          </a:prstGeom>
          <a:blipFill dpi="0" rotWithShape="1">
            <a:blip r:embed="rId3"/>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7" name="Slide Number Placeholder 17"/>
          <p:cNvSpPr>
            <a:spLocks noGrp="1"/>
          </p:cNvSpPr>
          <p:nvPr>
            <p:ph type="sldNum" sz="quarter" idx="12"/>
          </p:nvPr>
        </p:nvSpPr>
        <p:spPr>
          <a:xfrm>
            <a:off x="8852851" y="4921782"/>
            <a:ext cx="290945" cy="220240"/>
          </a:xfrm>
          <a:prstGeom prst="rect">
            <a:avLst/>
          </a:prstGeom>
          <a:ln>
            <a:noFill/>
          </a:ln>
        </p:spPr>
        <p:txBody>
          <a:bodyPr/>
          <a:lstStyle>
            <a:lvl1pPr algn="ctr">
              <a:defRPr sz="599"/>
            </a:lvl1pPr>
          </a:lstStyle>
          <a:p>
            <a:fld id="{A34E5796-B6AC-4C80-ACD7-07B1272A6BDB}" type="slidenum">
              <a:rPr lang="en-US" smtClean="0">
                <a:solidFill>
                  <a:prstClr val="black"/>
                </a:solidFill>
              </a:rPr>
              <a:pPr/>
              <a:t>‹#›</a:t>
            </a:fld>
            <a:endParaRPr lang="en-US">
              <a:solidFill>
                <a:prstClr val="black"/>
              </a:solidFill>
            </a:endParaRPr>
          </a:p>
        </p:txBody>
      </p:sp>
      <p:sp>
        <p:nvSpPr>
          <p:cNvPr id="5" name="Title 1"/>
          <p:cNvSpPr>
            <a:spLocks noGrp="1"/>
          </p:cNvSpPr>
          <p:nvPr>
            <p:ph type="title"/>
          </p:nvPr>
        </p:nvSpPr>
        <p:spPr>
          <a:xfrm>
            <a:off x="96799" y="254123"/>
            <a:ext cx="8325842" cy="41353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3" name="Text Placeholder 2"/>
          <p:cNvSpPr>
            <a:spLocks noGrp="1"/>
          </p:cNvSpPr>
          <p:nvPr>
            <p:ph type="body" sz="quarter" idx="13" hasCustomPrompt="1"/>
          </p:nvPr>
        </p:nvSpPr>
        <p:spPr>
          <a:xfrm>
            <a:off x="247651" y="4245648"/>
            <a:ext cx="8605838" cy="605030"/>
          </a:xfrm>
          <a:prstGeom prst="rect">
            <a:avLst/>
          </a:prstGeom>
        </p:spPr>
        <p:txBody>
          <a:bodyPr/>
          <a:lstStyle>
            <a:lvl1pPr marL="0" marR="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Tree>
    <p:extLst>
      <p:ext uri="{BB962C8B-B14F-4D97-AF65-F5344CB8AC3E}">
        <p14:creationId xmlns:p14="http://schemas.microsoft.com/office/powerpoint/2010/main" val="224137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247651" y="4245648"/>
            <a:ext cx="8605838" cy="605030"/>
          </a:xfrm>
          <a:prstGeom prst="rect">
            <a:avLst/>
          </a:prstGeom>
        </p:spPr>
        <p:txBody>
          <a:bodyPr/>
          <a:lstStyle>
            <a:lvl1pPr marL="0" marR="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6161291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6455802" y="1368504"/>
            <a:ext cx="2059548" cy="955313"/>
          </a:xfrm>
          <a:prstGeom prst="rect">
            <a:avLst/>
          </a:prstGeom>
        </p:spPr>
        <p:txBody>
          <a:bodyPr/>
          <a:lstStyle>
            <a:lvl1pPr marL="0" marR="0" indent="0" algn="just"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66"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66"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a:t>
            </a:r>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35775795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a:lstStyle>
            <a:lvl1pPr>
              <a:lnSpc>
                <a:spcPct val="80000"/>
              </a:lnSpc>
              <a:defRPr sz="4796"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39"/>
            <a:ext cx="8229600" cy="979487"/>
          </a:xfrm>
          <a:prstGeom prst="rect">
            <a:avLst/>
          </a:prstGeom>
        </p:spPr>
        <p:txBody>
          <a:bodyPr vert="horz"/>
          <a:lstStyle>
            <a:lvl1pPr marL="0" indent="0" algn="ctr">
              <a:buNone/>
              <a:defRPr sz="1799"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153768418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7"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13" indent="-274061">
              <a:spcBef>
                <a:spcPts val="0"/>
              </a:spcBef>
              <a:spcAft>
                <a:spcPts val="899"/>
              </a:spcAft>
              <a:buClr>
                <a:schemeClr val="accent1"/>
              </a:buClr>
              <a:defRPr sz="1598" spc="-30">
                <a:solidFill>
                  <a:schemeClr val="tx1">
                    <a:lumMod val="85000"/>
                    <a:lumOff val="15000"/>
                  </a:schemeClr>
                </a:solidFill>
                <a:latin typeface="Arial"/>
                <a:cs typeface="Arial"/>
              </a:defRPr>
            </a:lvl2pPr>
            <a:lvl3pPr marL="548118" indent="-182707">
              <a:spcBef>
                <a:spcPts val="0"/>
              </a:spcBef>
              <a:spcAft>
                <a:spcPts val="899"/>
              </a:spcAft>
              <a:buClr>
                <a:schemeClr val="accent1"/>
              </a:buClr>
              <a:defRPr sz="1598" spc="-30">
                <a:solidFill>
                  <a:schemeClr val="tx1">
                    <a:lumMod val="85000"/>
                    <a:lumOff val="15000"/>
                  </a:schemeClr>
                </a:solidFill>
                <a:latin typeface="Arial"/>
                <a:cs typeface="Arial"/>
              </a:defRPr>
            </a:lvl3pPr>
            <a:lvl4pPr marL="91353" indent="182707">
              <a:buClr>
                <a:schemeClr val="accent1"/>
              </a:buClr>
              <a:defRPr sz="1199">
                <a:solidFill>
                  <a:schemeClr val="tx1">
                    <a:lumMod val="75000"/>
                    <a:lumOff val="25000"/>
                  </a:schemeClr>
                </a:solidFill>
                <a:latin typeface="Arial"/>
                <a:cs typeface="Arial"/>
              </a:defRPr>
            </a:lvl4pPr>
            <a:lvl5pPr marL="91353" indent="182707">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70" y="1938868"/>
            <a:ext cx="4021667" cy="2954867"/>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23" name="Text Placeholder 2"/>
          <p:cNvSpPr>
            <a:spLocks noGrp="1"/>
          </p:cNvSpPr>
          <p:nvPr>
            <p:ph type="body" sz="quarter" idx="17"/>
          </p:nvPr>
        </p:nvSpPr>
        <p:spPr>
          <a:xfrm>
            <a:off x="4425295"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13" indent="-274061">
              <a:spcBef>
                <a:spcPts val="0"/>
              </a:spcBef>
              <a:spcAft>
                <a:spcPts val="899"/>
              </a:spcAft>
              <a:buClr>
                <a:schemeClr val="accent1"/>
              </a:buClr>
              <a:defRPr sz="1598" spc="-30">
                <a:solidFill>
                  <a:schemeClr val="tx1">
                    <a:lumMod val="85000"/>
                    <a:lumOff val="15000"/>
                  </a:schemeClr>
                </a:solidFill>
                <a:latin typeface="Arial"/>
                <a:cs typeface="Arial"/>
              </a:defRPr>
            </a:lvl2pPr>
            <a:lvl3pPr marL="548118" indent="-182707">
              <a:spcBef>
                <a:spcPts val="0"/>
              </a:spcBef>
              <a:spcAft>
                <a:spcPts val="899"/>
              </a:spcAft>
              <a:buClr>
                <a:schemeClr val="accent1"/>
              </a:buClr>
              <a:defRPr sz="1598" spc="-30">
                <a:solidFill>
                  <a:schemeClr val="tx1">
                    <a:lumMod val="85000"/>
                    <a:lumOff val="15000"/>
                  </a:schemeClr>
                </a:solidFill>
                <a:latin typeface="Arial"/>
                <a:cs typeface="Arial"/>
              </a:defRPr>
            </a:lvl3pPr>
            <a:lvl4pPr marL="91353" indent="182707">
              <a:buClr>
                <a:schemeClr val="accent1"/>
              </a:buClr>
              <a:defRPr sz="1199">
                <a:solidFill>
                  <a:schemeClr val="tx1">
                    <a:lumMod val="75000"/>
                    <a:lumOff val="25000"/>
                  </a:schemeClr>
                </a:solidFill>
                <a:latin typeface="Arial"/>
                <a:cs typeface="Arial"/>
              </a:defRPr>
            </a:lvl4pPr>
            <a:lvl5pPr marL="91353" indent="182707">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4" name="Content Placeholder 18"/>
          <p:cNvSpPr>
            <a:spLocks noGrp="1"/>
          </p:cNvSpPr>
          <p:nvPr>
            <p:ph sz="quarter" idx="18"/>
          </p:nvPr>
        </p:nvSpPr>
        <p:spPr>
          <a:xfrm>
            <a:off x="4428068" y="1938868"/>
            <a:ext cx="4021667" cy="2954867"/>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8"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9"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141764387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7" y="1490135"/>
            <a:ext cx="824344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13" indent="-274061">
              <a:spcBef>
                <a:spcPts val="0"/>
              </a:spcBef>
              <a:spcAft>
                <a:spcPts val="899"/>
              </a:spcAft>
              <a:buClr>
                <a:schemeClr val="accent1"/>
              </a:buClr>
              <a:defRPr sz="1598" spc="-30">
                <a:solidFill>
                  <a:schemeClr val="tx1">
                    <a:lumMod val="85000"/>
                    <a:lumOff val="15000"/>
                  </a:schemeClr>
                </a:solidFill>
                <a:latin typeface="Arial"/>
                <a:cs typeface="Arial"/>
              </a:defRPr>
            </a:lvl2pPr>
            <a:lvl3pPr marL="548118" indent="-182707">
              <a:spcBef>
                <a:spcPts val="0"/>
              </a:spcBef>
              <a:spcAft>
                <a:spcPts val="899"/>
              </a:spcAft>
              <a:buClr>
                <a:schemeClr val="accent1"/>
              </a:buClr>
              <a:defRPr sz="1598" spc="-30">
                <a:solidFill>
                  <a:schemeClr val="tx1">
                    <a:lumMod val="85000"/>
                    <a:lumOff val="15000"/>
                  </a:schemeClr>
                </a:solidFill>
                <a:latin typeface="Arial"/>
                <a:cs typeface="Arial"/>
              </a:defRPr>
            </a:lvl3pPr>
            <a:lvl4pPr marL="91353" indent="182707">
              <a:buClr>
                <a:schemeClr val="accent1"/>
              </a:buClr>
              <a:defRPr sz="1199">
                <a:solidFill>
                  <a:schemeClr val="tx1">
                    <a:lumMod val="75000"/>
                    <a:lumOff val="25000"/>
                  </a:schemeClr>
                </a:solidFill>
                <a:latin typeface="Arial"/>
                <a:cs typeface="Arial"/>
              </a:defRPr>
            </a:lvl4pPr>
            <a:lvl5pPr marL="91353" indent="182707">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67" y="1938868"/>
            <a:ext cx="8238066" cy="2954867"/>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34100204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20" name="Content Placeholder 18"/>
          <p:cNvSpPr>
            <a:spLocks noGrp="1"/>
          </p:cNvSpPr>
          <p:nvPr>
            <p:ph sz="quarter" idx="16"/>
          </p:nvPr>
        </p:nvSpPr>
        <p:spPr>
          <a:xfrm>
            <a:off x="211667" y="1490135"/>
            <a:ext cx="8238066" cy="3403601"/>
          </a:xfrm>
          <a:prstGeom prst="rect">
            <a:avLst/>
          </a:prstGeom>
        </p:spPr>
        <p:txBody>
          <a:bodyPr vert="horz"/>
          <a:lstStyle>
            <a:lvl1pPr marL="274061" indent="-274061">
              <a:lnSpc>
                <a:spcPts val="2098"/>
              </a:lnSpc>
              <a:spcBef>
                <a:spcPts val="0"/>
              </a:spcBef>
              <a:spcAft>
                <a:spcPts val="599"/>
              </a:spcAft>
              <a:buClr>
                <a:schemeClr val="accent1"/>
              </a:buClr>
              <a:defRPr sz="1598" kern="0" spc="-20"/>
            </a:lvl1pPr>
            <a:lvl2pPr marL="365413" indent="-274061">
              <a:lnSpc>
                <a:spcPts val="2098"/>
              </a:lnSpc>
              <a:spcBef>
                <a:spcPts val="0"/>
              </a:spcBef>
              <a:spcAft>
                <a:spcPts val="599"/>
              </a:spcAft>
              <a:buClr>
                <a:schemeClr val="accent1"/>
              </a:buClr>
              <a:defRPr sz="1598" kern="0" spc="-20"/>
            </a:lvl2pPr>
            <a:lvl3pPr marL="548118" indent="-182707">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401385968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ubble Screenshot">
    <p:spTree>
      <p:nvGrpSpPr>
        <p:cNvPr id="1" name=""/>
        <p:cNvGrpSpPr/>
        <p:nvPr/>
      </p:nvGrpSpPr>
      <p:grpSpPr>
        <a:xfrm>
          <a:off x="0" y="0"/>
          <a:ext cx="0" cy="0"/>
          <a:chOff x="0" y="0"/>
          <a:chExt cx="0" cy="0"/>
        </a:xfrm>
      </p:grpSpPr>
      <p:sp>
        <p:nvSpPr>
          <p:cNvPr id="7" name="Rectangle 6"/>
          <p:cNvSpPr/>
          <p:nvPr/>
        </p:nvSpPr>
        <p:spPr>
          <a:xfrm>
            <a:off x="0" y="1141727"/>
            <a:ext cx="9144000" cy="3811275"/>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8" name="Text Placeholder 2"/>
          <p:cNvSpPr>
            <a:spLocks noGrp="1"/>
          </p:cNvSpPr>
          <p:nvPr>
            <p:ph type="body" sz="quarter" idx="11"/>
          </p:nvPr>
        </p:nvSpPr>
        <p:spPr>
          <a:xfrm>
            <a:off x="6196086" y="1312509"/>
            <a:ext cx="2808406" cy="353524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bg1"/>
                </a:solidFill>
                <a:latin typeface="Arial"/>
                <a:cs typeface="Arial"/>
              </a:defRPr>
            </a:lvl1pPr>
            <a:lvl2pPr marL="91353" indent="182707">
              <a:lnSpc>
                <a:spcPts val="1699"/>
              </a:lnSpc>
              <a:spcBef>
                <a:spcPts val="0"/>
              </a:spcBef>
              <a:spcAft>
                <a:spcPts val="300"/>
              </a:spcAft>
              <a:buClr>
                <a:schemeClr val="accent1"/>
              </a:buClr>
              <a:buFont typeface="Arial" panose="020B0604020202020204" pitchFamily="34" charset="0"/>
              <a:buChar char="•"/>
              <a:defRPr sz="1199" spc="-30" baseline="0">
                <a:solidFill>
                  <a:schemeClr val="bg1"/>
                </a:solidFill>
                <a:latin typeface="Arial"/>
                <a:cs typeface="Arial"/>
              </a:defRPr>
            </a:lvl2pPr>
            <a:lvl3pPr marL="91353" indent="182707">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79" indent="171288">
              <a:spcAft>
                <a:spcPts val="300"/>
              </a:spcAft>
              <a:buClr>
                <a:schemeClr val="accent1"/>
              </a:buClr>
              <a:buFont typeface="Arial" panose="020B0604020202020204" pitchFamily="34" charset="0"/>
              <a:buChar char="•"/>
              <a:defRPr sz="1199" spc="-30" baseline="0">
                <a:solidFill>
                  <a:schemeClr val="bg1"/>
                </a:solidFill>
                <a:latin typeface="Arial"/>
                <a:cs typeface="Arial"/>
              </a:defRPr>
            </a:lvl4pPr>
            <a:lvl5pPr marL="456766" indent="228383">
              <a:spcAft>
                <a:spcPts val="300"/>
              </a:spcAft>
              <a:buClr>
                <a:schemeClr val="accent1"/>
              </a:buClr>
              <a:buFont typeface="Arial" panose="020B0604020202020204" pitchFamily="34" charset="0"/>
              <a:buChar char="•"/>
              <a:defRPr sz="1199" spc="-30" baseline="0">
                <a:solidFill>
                  <a:schemeClr val="bg1"/>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pic>
        <p:nvPicPr>
          <p:cNvPr id="512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6291" y="4661858"/>
            <a:ext cx="1498665" cy="28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a:spLocks noGrp="1"/>
          </p:cNvSpPr>
          <p:nvPr>
            <p:ph type="title"/>
          </p:nvPr>
        </p:nvSpPr>
        <p:spPr>
          <a:xfrm>
            <a:off x="96799" y="254124"/>
            <a:ext cx="8325842" cy="887159"/>
          </a:xfrm>
          <a:prstGeom prst="rect">
            <a:avLst/>
          </a:prstGeom>
        </p:spPr>
        <p:txBody>
          <a:bodyPr/>
          <a:lstStyle>
            <a:lvl1pPr marL="0" algn="l" defTabSz="456766"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10" name="Text Placeholder 6"/>
          <p:cNvSpPr>
            <a:spLocks noGrp="1"/>
          </p:cNvSpPr>
          <p:nvPr>
            <p:ph type="body" sz="quarter" idx="12"/>
          </p:nvPr>
        </p:nvSpPr>
        <p:spPr>
          <a:xfrm>
            <a:off x="96838" y="667659"/>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23" indent="0">
              <a:buNone/>
              <a:defRPr lang="en-US" sz="1399" kern="1200" dirty="0" smtClean="0">
                <a:solidFill>
                  <a:schemeClr val="tx1">
                    <a:lumMod val="85000"/>
                    <a:lumOff val="15000"/>
                  </a:schemeClr>
                </a:solidFill>
                <a:latin typeface="+mn-lt"/>
                <a:ea typeface="MS PGothic" pitchFamily="34" charset="-128"/>
                <a:cs typeface="Arial"/>
              </a:defRPr>
            </a:lvl2pPr>
            <a:lvl3pPr marL="502442" indent="0">
              <a:buNone/>
              <a:defRPr lang="en-US" sz="1399" kern="1200" dirty="0" smtClean="0">
                <a:solidFill>
                  <a:schemeClr val="tx1">
                    <a:lumMod val="85000"/>
                    <a:lumOff val="15000"/>
                  </a:schemeClr>
                </a:solidFill>
                <a:latin typeface="+mn-lt"/>
                <a:ea typeface="MS PGothic" pitchFamily="34" charset="-128"/>
                <a:cs typeface="Arial"/>
              </a:defRPr>
            </a:lvl3pPr>
            <a:lvl4pPr marL="685149" indent="0">
              <a:buNone/>
              <a:defRPr lang="en-US" sz="1399" kern="1200" dirty="0" smtClean="0">
                <a:solidFill>
                  <a:schemeClr val="tx1">
                    <a:lumMod val="85000"/>
                    <a:lumOff val="15000"/>
                  </a:schemeClr>
                </a:solidFill>
                <a:latin typeface="+mn-lt"/>
                <a:ea typeface="MS PGothic" pitchFamily="34" charset="-128"/>
                <a:cs typeface="Arial"/>
              </a:defRPr>
            </a:lvl4pPr>
            <a:lvl5pPr marL="685149"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25904780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sights BG 75 - 4 Charts">
    <p:spTree>
      <p:nvGrpSpPr>
        <p:cNvPr id="1" name=""/>
        <p:cNvGrpSpPr/>
        <p:nvPr/>
      </p:nvGrpSpPr>
      <p:grpSpPr>
        <a:xfrm>
          <a:off x="0" y="0"/>
          <a:ext cx="0" cy="0"/>
          <a:chOff x="0" y="0"/>
          <a:chExt cx="0" cy="0"/>
        </a:xfrm>
      </p:grpSpPr>
      <p:sp>
        <p:nvSpPr>
          <p:cNvPr id="10" name="Rectangle 9"/>
          <p:cNvSpPr/>
          <p:nvPr userDrawn="1"/>
        </p:nvSpPr>
        <p:spPr>
          <a:xfrm>
            <a:off x="1" y="2"/>
            <a:ext cx="633719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15" name="Title Placeholder 1"/>
          <p:cNvSpPr>
            <a:spLocks noGrp="1"/>
          </p:cNvSpPr>
          <p:nvPr>
            <p:ph type="title" hasCustomPrompt="1"/>
          </p:nvPr>
        </p:nvSpPr>
        <p:spPr>
          <a:xfrm>
            <a:off x="6497180" y="258673"/>
            <a:ext cx="2468913" cy="742387"/>
          </a:xfrm>
          <a:prstGeom prst="rect">
            <a:avLst/>
          </a:prstGeom>
        </p:spPr>
        <p:txBody>
          <a:bodyPr vert="horz" lIns="91440" tIns="45720" rIns="91440" bIns="45720" rtlCol="0" anchor="t">
            <a:normAutofit/>
          </a:bodyPr>
          <a:lstStyle>
            <a:lvl1pPr>
              <a:defRPr sz="1799"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6495394" y="1028702"/>
            <a:ext cx="2470527" cy="392976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tx1">
                    <a:lumMod val="85000"/>
                    <a:lumOff val="15000"/>
                  </a:schemeClr>
                </a:solidFill>
                <a:latin typeface="Arial"/>
                <a:cs typeface="Arial"/>
              </a:defRPr>
            </a:lvl1pPr>
            <a:lvl2pPr marL="91353" indent="182707">
              <a:lnSpc>
                <a:spcPts val="1699"/>
              </a:lnSpc>
              <a:spcBef>
                <a:spcPts val="0"/>
              </a:spcBef>
              <a:spcAft>
                <a:spcPts val="300"/>
              </a:spcAft>
              <a:buClr>
                <a:schemeClr val="accent1"/>
              </a:buClr>
              <a:buFont typeface="Arial" panose="020B0604020202020204" pitchFamily="34" charset="0"/>
              <a:buChar char="•"/>
              <a:defRPr sz="1199" spc="-30" baseline="0">
                <a:solidFill>
                  <a:schemeClr val="tx1">
                    <a:lumMod val="85000"/>
                    <a:lumOff val="15000"/>
                  </a:schemeClr>
                </a:solidFill>
                <a:latin typeface="Arial"/>
                <a:cs typeface="Arial"/>
              </a:defRPr>
            </a:lvl2pPr>
            <a:lvl3pPr marL="91353" indent="182707">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79" indent="171288">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4pPr>
            <a:lvl5pPr marL="456766" indent="228383">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1" name="Content Placeholder 18"/>
          <p:cNvSpPr>
            <a:spLocks noGrp="1"/>
          </p:cNvSpPr>
          <p:nvPr>
            <p:ph sz="quarter" idx="12" hasCustomPrompt="1"/>
          </p:nvPr>
        </p:nvSpPr>
        <p:spPr>
          <a:xfrm>
            <a:off x="37007" y="861369"/>
            <a:ext cx="3108960" cy="1828801"/>
          </a:xfrm>
          <a:prstGeom prst="rect">
            <a:avLst/>
          </a:prstGeom>
        </p:spPr>
        <p:txBody>
          <a:bodyPr vert="horz"/>
          <a:lstStyle>
            <a:lvl1pPr marL="0" indent="0">
              <a:buNone/>
              <a:defRPr sz="1099" spc="0">
                <a:solidFill>
                  <a:srgbClr val="FFFFFF"/>
                </a:solidFill>
                <a:latin typeface="Arial"/>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33" name="Slide Number Placeholder 17"/>
          <p:cNvSpPr txBox="1">
            <a:spLocks/>
          </p:cNvSpPr>
          <p:nvPr userDrawn="1"/>
        </p:nvSpPr>
        <p:spPr>
          <a:xfrm>
            <a:off x="5934220" y="4958465"/>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599" smtClean="0">
                <a:solidFill>
                  <a:prstClr val="white">
                    <a:lumMod val="85000"/>
                  </a:prstClr>
                </a:solidFill>
              </a:rPr>
              <a:pPr algn="r"/>
              <a:t>‹#›</a:t>
            </a:fld>
            <a:endParaRPr lang="en-US" sz="599" dirty="0">
              <a:solidFill>
                <a:prstClr val="white">
                  <a:lumMod val="85000"/>
                </a:prstClr>
              </a:solidFill>
            </a:endParaRPr>
          </a:p>
        </p:txBody>
      </p:sp>
      <p:sp>
        <p:nvSpPr>
          <p:cNvPr id="12" name="Text Placeholder 2"/>
          <p:cNvSpPr>
            <a:spLocks noGrp="1"/>
          </p:cNvSpPr>
          <p:nvPr>
            <p:ph type="body" sz="quarter" idx="13" hasCustomPrompt="1"/>
          </p:nvPr>
        </p:nvSpPr>
        <p:spPr>
          <a:xfrm>
            <a:off x="1138" y="581025"/>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66" indent="0">
              <a:buNone/>
              <a:defRPr sz="1199">
                <a:solidFill>
                  <a:schemeClr val="bg1"/>
                </a:solidFill>
              </a:defRPr>
            </a:lvl2pPr>
            <a:lvl3pPr marL="913532" indent="0">
              <a:buNone/>
              <a:defRPr sz="1199">
                <a:solidFill>
                  <a:schemeClr val="bg1"/>
                </a:solidFill>
              </a:defRPr>
            </a:lvl3pPr>
            <a:lvl4pPr marL="1370297" indent="0">
              <a:buNone/>
              <a:defRPr sz="1199">
                <a:solidFill>
                  <a:schemeClr val="bg1"/>
                </a:solidFill>
              </a:defRPr>
            </a:lvl4pPr>
            <a:lvl5pPr marL="1827062" indent="0">
              <a:buNone/>
              <a:defRPr sz="1199">
                <a:solidFill>
                  <a:schemeClr val="bg1"/>
                </a:solidFill>
              </a:defRPr>
            </a:lvl5pPr>
          </a:lstStyle>
          <a:p>
            <a:pPr lvl="0"/>
            <a:r>
              <a:rPr lang="en-US" dirty="0"/>
              <a:t>Click To Edit Master Text Styles</a:t>
            </a:r>
          </a:p>
        </p:txBody>
      </p:sp>
      <p:sp>
        <p:nvSpPr>
          <p:cNvPr id="9" name="Content Placeholder 18"/>
          <p:cNvSpPr>
            <a:spLocks noGrp="1"/>
          </p:cNvSpPr>
          <p:nvPr>
            <p:ph sz="quarter" idx="14" hasCustomPrompt="1"/>
          </p:nvPr>
        </p:nvSpPr>
        <p:spPr>
          <a:xfrm>
            <a:off x="3191339" y="861369"/>
            <a:ext cx="3108960" cy="1828801"/>
          </a:xfrm>
          <a:prstGeom prst="rect">
            <a:avLst/>
          </a:prstGeom>
        </p:spPr>
        <p:txBody>
          <a:bodyPr vert="horz"/>
          <a:lstStyle>
            <a:lvl1pPr marL="0" indent="0">
              <a:buNone/>
              <a:defRPr lang="en-US" sz="1099" kern="1200" spc="0" baseline="0" dirty="0" smtClean="0">
                <a:solidFill>
                  <a:srgbClr val="FFFFFF"/>
                </a:solidFill>
                <a:latin typeface="Arial"/>
                <a:ea typeface="+mn-ea"/>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marL="0" lvl="0" indent="0" algn="l" defTabSz="456766" rtl="0" eaLnBrk="1" latinLnBrk="0" hangingPunct="1">
              <a:spcBef>
                <a:spcPct val="20000"/>
              </a:spcBef>
              <a:buFont typeface="Arial"/>
              <a:buNone/>
            </a:pPr>
            <a:r>
              <a:rPr lang="en-US" dirty="0"/>
              <a:t>Click to add chart</a:t>
            </a:r>
          </a:p>
        </p:txBody>
      </p:sp>
      <p:sp>
        <p:nvSpPr>
          <p:cNvPr id="11" name="Content Placeholder 18"/>
          <p:cNvSpPr>
            <a:spLocks noGrp="1"/>
          </p:cNvSpPr>
          <p:nvPr>
            <p:ph sz="quarter" idx="15" hasCustomPrompt="1"/>
          </p:nvPr>
        </p:nvSpPr>
        <p:spPr>
          <a:xfrm>
            <a:off x="37007" y="3084052"/>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13" name="Text Placeholder 2"/>
          <p:cNvSpPr>
            <a:spLocks noGrp="1"/>
          </p:cNvSpPr>
          <p:nvPr>
            <p:ph type="body" sz="quarter" idx="16" hasCustomPrompt="1"/>
          </p:nvPr>
        </p:nvSpPr>
        <p:spPr>
          <a:xfrm>
            <a:off x="1138" y="2796883"/>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66" indent="0">
              <a:buNone/>
              <a:defRPr sz="1199">
                <a:solidFill>
                  <a:schemeClr val="bg1"/>
                </a:solidFill>
              </a:defRPr>
            </a:lvl2pPr>
            <a:lvl3pPr marL="913532" indent="0">
              <a:buNone/>
              <a:defRPr sz="1199">
                <a:solidFill>
                  <a:schemeClr val="bg1"/>
                </a:solidFill>
              </a:defRPr>
            </a:lvl3pPr>
            <a:lvl4pPr marL="1370297" indent="0">
              <a:buNone/>
              <a:defRPr sz="1199">
                <a:solidFill>
                  <a:schemeClr val="bg1"/>
                </a:solidFill>
              </a:defRPr>
            </a:lvl4pPr>
            <a:lvl5pPr marL="1827062" indent="0">
              <a:buNone/>
              <a:defRPr sz="1199">
                <a:solidFill>
                  <a:schemeClr val="bg1"/>
                </a:solidFill>
              </a:defRPr>
            </a:lvl5pPr>
          </a:lstStyle>
          <a:p>
            <a:pPr lvl="0"/>
            <a:r>
              <a:rPr lang="en-US" dirty="0"/>
              <a:t>Click To Edit Master Text Styles</a:t>
            </a:r>
          </a:p>
        </p:txBody>
      </p:sp>
      <p:sp>
        <p:nvSpPr>
          <p:cNvPr id="14" name="Content Placeholder 18"/>
          <p:cNvSpPr>
            <a:spLocks noGrp="1"/>
          </p:cNvSpPr>
          <p:nvPr>
            <p:ph sz="quarter" idx="17" hasCustomPrompt="1"/>
          </p:nvPr>
        </p:nvSpPr>
        <p:spPr>
          <a:xfrm>
            <a:off x="3191339" y="3084052"/>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07">
              <a:buFont typeface="Arial"/>
              <a:buChar char="•"/>
              <a:defRPr sz="1598" spc="-50">
                <a:solidFill>
                  <a:srgbClr val="FFFFFF"/>
                </a:solidFill>
                <a:latin typeface="Arial"/>
                <a:cs typeface="Arial"/>
              </a:defRPr>
            </a:lvl2pPr>
            <a:lvl3pPr marL="411090">
              <a:spcBef>
                <a:spcPts val="400"/>
              </a:spcBef>
              <a:defRPr sz="1598" spc="-50">
                <a:solidFill>
                  <a:srgbClr val="FFFFFF"/>
                </a:solidFill>
                <a:latin typeface="Arial"/>
                <a:cs typeface="Arial"/>
              </a:defRPr>
            </a:lvl3pPr>
            <a:lvl4pPr marL="502442" indent="-228383">
              <a:buFont typeface="Arial" panose="020B0604020202020204" pitchFamily="34" charset="0"/>
              <a:buChar char="•"/>
              <a:defRPr lang="en-US" sz="1598" kern="1200" spc="-50" dirty="0" smtClean="0">
                <a:solidFill>
                  <a:srgbClr val="FFFFFF"/>
                </a:solidFill>
                <a:latin typeface="Arial"/>
                <a:ea typeface="+mn-ea"/>
                <a:cs typeface="Arial"/>
              </a:defRPr>
            </a:lvl4pPr>
            <a:lvl5pPr marL="593795" indent="-228383">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Tree>
    <p:extLst>
      <p:ext uri="{BB962C8B-B14F-4D97-AF65-F5344CB8AC3E}">
        <p14:creationId xmlns:p14="http://schemas.microsoft.com/office/powerpoint/2010/main" val="6479830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lumn + Big Imag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4" name="Content Placeholder 18"/>
          <p:cNvSpPr>
            <a:spLocks noGrp="1"/>
          </p:cNvSpPr>
          <p:nvPr>
            <p:ph sz="quarter" idx="18"/>
          </p:nvPr>
        </p:nvSpPr>
        <p:spPr>
          <a:xfrm>
            <a:off x="4428065" y="1490133"/>
            <a:ext cx="4326468"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5664762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18" name="Title Placeholder 1"/>
          <p:cNvSpPr>
            <a:spLocks noGrp="1"/>
          </p:cNvSpPr>
          <p:nvPr>
            <p:ph type="title" hasCustomPrompt="1"/>
          </p:nvPr>
        </p:nvSpPr>
        <p:spPr>
          <a:xfrm>
            <a:off x="287871" y="414869"/>
            <a:ext cx="2836333" cy="4258733"/>
          </a:xfrm>
          <a:prstGeom prst="rect">
            <a:avLst/>
          </a:prstGeom>
        </p:spPr>
        <p:txBody>
          <a:bodyPr vert="horz" lIns="91440" tIns="45720" rIns="91440" bIns="45720" rtlCol="0" anchor="ctr">
            <a:noAutofit/>
          </a:bodyPr>
          <a:lstStyle>
            <a:lvl1pPr>
              <a:lnSpc>
                <a:spcPct val="85000"/>
              </a:lnSpc>
              <a:defRPr sz="3996" baseline="0"/>
            </a:lvl1pPr>
          </a:lstStyle>
          <a:p>
            <a:r>
              <a:rPr lang="en-US" dirty="0"/>
              <a:t>Title</a:t>
            </a:r>
          </a:p>
        </p:txBody>
      </p:sp>
      <p:sp>
        <p:nvSpPr>
          <p:cNvPr id="19" name="Text Placeholder 2"/>
          <p:cNvSpPr>
            <a:spLocks noGrp="1"/>
          </p:cNvSpPr>
          <p:nvPr>
            <p:ph type="body" sz="quarter" idx="12" hasCustomPrompt="1"/>
          </p:nvPr>
        </p:nvSpPr>
        <p:spPr>
          <a:xfrm>
            <a:off x="3826936" y="414863"/>
            <a:ext cx="4616435" cy="4250265"/>
          </a:xfrm>
          <a:prstGeom prst="rect">
            <a:avLst/>
          </a:prstGeom>
        </p:spPr>
        <p:txBody>
          <a:bodyPr vert="horz" lIns="0" tIns="0" rIns="0" bIns="0" anchor="ctr"/>
          <a:lstStyle>
            <a:lvl1pPr marL="0" indent="0" algn="l">
              <a:lnSpc>
                <a:spcPts val="3077"/>
              </a:lnSpc>
              <a:spcBef>
                <a:spcPts val="0"/>
              </a:spcBef>
              <a:spcAft>
                <a:spcPts val="1799"/>
              </a:spcAft>
              <a:buClr>
                <a:schemeClr val="accent1"/>
              </a:buClr>
              <a:buNone/>
              <a:defRPr sz="2398" spc="-30" baseline="0">
                <a:solidFill>
                  <a:schemeClr val="tx1"/>
                </a:solidFill>
                <a:latin typeface="Arial"/>
                <a:cs typeface="Arial"/>
              </a:defRPr>
            </a:lvl1pPr>
            <a:lvl2pPr marL="365404" indent="-274052">
              <a:spcBef>
                <a:spcPts val="0"/>
              </a:spcBef>
              <a:spcAft>
                <a:spcPts val="899"/>
              </a:spcAft>
              <a:buClr>
                <a:schemeClr val="accent1"/>
              </a:buClr>
              <a:defRPr sz="1598" spc="-30">
                <a:solidFill>
                  <a:schemeClr val="tx1">
                    <a:lumMod val="85000"/>
                    <a:lumOff val="15000"/>
                  </a:schemeClr>
                </a:solidFill>
                <a:latin typeface="Arial"/>
                <a:cs typeface="Arial"/>
              </a:defRPr>
            </a:lvl2pPr>
            <a:lvl3pPr marL="548106" indent="-182702">
              <a:spcBef>
                <a:spcPts val="0"/>
              </a:spcBef>
              <a:spcAft>
                <a:spcPts val="899"/>
              </a:spcAft>
              <a:buClr>
                <a:schemeClr val="accent1"/>
              </a:buClr>
              <a:defRPr sz="1598" spc="-30">
                <a:solidFill>
                  <a:schemeClr val="tx1">
                    <a:lumMod val="85000"/>
                    <a:lumOff val="15000"/>
                  </a:schemeClr>
                </a:solidFill>
                <a:latin typeface="Arial"/>
                <a:cs typeface="Arial"/>
              </a:defRPr>
            </a:lvl3pPr>
            <a:lvl4pPr marL="91352" indent="182702">
              <a:buClr>
                <a:schemeClr val="accent1"/>
              </a:buClr>
              <a:defRPr sz="1199">
                <a:solidFill>
                  <a:schemeClr val="tx1">
                    <a:lumMod val="75000"/>
                    <a:lumOff val="25000"/>
                  </a:schemeClr>
                </a:solidFill>
                <a:latin typeface="Arial"/>
                <a:cs typeface="Arial"/>
              </a:defRPr>
            </a:lvl4pPr>
            <a:lvl5pPr marL="91352" indent="182702">
              <a:buClr>
                <a:schemeClr val="accent1"/>
              </a:buClr>
              <a:defRPr sz="1199">
                <a:solidFill>
                  <a:schemeClr val="tx1">
                    <a:lumMod val="75000"/>
                    <a:lumOff val="25000"/>
                  </a:schemeClr>
                </a:solidFill>
                <a:latin typeface="Arial"/>
                <a:cs typeface="Arial"/>
              </a:defRPr>
            </a:lvl5pPr>
          </a:lstStyle>
          <a:p>
            <a:pPr lvl="0"/>
            <a:r>
              <a:rPr lang="en-US" dirty="0"/>
              <a:t>Agenda Item 1</a:t>
            </a:r>
          </a:p>
          <a:p>
            <a:pPr lvl="0"/>
            <a:r>
              <a:rPr lang="en-US" dirty="0"/>
              <a:t>Agenda Item 2</a:t>
            </a:r>
          </a:p>
          <a:p>
            <a:pPr lvl="0"/>
            <a:r>
              <a:rPr lang="en-US" dirty="0"/>
              <a:t>Agenda Item 3</a:t>
            </a:r>
          </a:p>
          <a:p>
            <a:pPr lvl="0"/>
            <a:r>
              <a:rPr lang="en-US" dirty="0"/>
              <a:t>Agenda Item 4</a:t>
            </a:r>
          </a:p>
          <a:p>
            <a:pPr lvl="0"/>
            <a:r>
              <a:rPr lang="en-US" dirty="0"/>
              <a:t>Agenda Item 5</a:t>
            </a:r>
          </a:p>
        </p:txBody>
      </p:sp>
      <p:cxnSp>
        <p:nvCxnSpPr>
          <p:cNvPr id="3" name="Straight Connector 2"/>
          <p:cNvCxnSpPr/>
          <p:nvPr/>
        </p:nvCxnSpPr>
        <p:spPr>
          <a:xfrm>
            <a:off x="3420533" y="414868"/>
            <a:ext cx="0" cy="4267201"/>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007"/>
          <a:stretch/>
        </p:blipFill>
        <p:spPr>
          <a:xfrm>
            <a:off x="8451686" y="2"/>
            <a:ext cx="610101" cy="555665"/>
          </a:xfrm>
          <a:prstGeom prst="rect">
            <a:avLst/>
          </a:prstGeom>
        </p:spPr>
      </p:pic>
    </p:spTree>
    <p:extLst>
      <p:ext uri="{BB962C8B-B14F-4D97-AF65-F5344CB8AC3E}">
        <p14:creationId xmlns:p14="http://schemas.microsoft.com/office/powerpoint/2010/main" val="246784837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0"/>
            <a:ext cx="2011514" cy="1853031"/>
          </a:xfrm>
          <a:prstGeom prst="rect">
            <a:avLst/>
          </a:prstGeom>
        </p:spPr>
      </p:pic>
      <p:sp>
        <p:nvSpPr>
          <p:cNvPr id="21" name="Title 15"/>
          <p:cNvSpPr>
            <a:spLocks noGrp="1"/>
          </p:cNvSpPr>
          <p:nvPr>
            <p:ph type="title" hasCustomPrompt="1"/>
          </p:nvPr>
        </p:nvSpPr>
        <p:spPr>
          <a:xfrm>
            <a:off x="573517"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175660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717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641413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493878"/>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31951"/>
            <a:ext cx="8540496" cy="246855"/>
          </a:xfrm>
          <a:prstGeom prst="rect">
            <a:avLst/>
          </a:prstGeom>
          <a:ln w="76200" cmpd="sng">
            <a:noFill/>
          </a:ln>
          <a:effectLst/>
        </p:spPr>
        <p:txBody>
          <a:bodyPr vert="horz" wrap="square" lIns="91440" tIns="0" rIns="0" bIns="0" rtlCol="0" anchor="b">
            <a:spAutoFit/>
          </a:bodyPr>
          <a:lstStyle>
            <a:lvl1pPr marL="342900" indent="-342900"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68459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6496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24852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1"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75584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9736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92242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674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19815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0"/>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5"/>
            <a:ext cx="5334000" cy="3022810"/>
          </a:xfrm>
          <a:prstGeom prst="rect">
            <a:avLst/>
          </a:prstGeom>
        </p:spPr>
        <p:txBody>
          <a:bodyPr anchor="t"/>
          <a:lstStyle>
            <a:lvl1pPr marL="0" marR="0" indent="0" algn="l" defTabSz="457200" rtl="0" eaLnBrk="1" fontAlgn="auto" latinLnBrk="0" hangingPunct="1">
              <a:lnSpc>
                <a:spcPct val="200000"/>
              </a:lnSpc>
              <a:spcBef>
                <a:spcPts val="0"/>
              </a:spcBef>
              <a:spcAft>
                <a:spcPts val="0"/>
              </a:spcAft>
              <a:buClr>
                <a:schemeClr val="accent3"/>
              </a:buClr>
              <a:buSzTx/>
              <a:buFont typeface="Wingdings" charset="2"/>
              <a:buNone/>
              <a:tabLst/>
              <a:defRPr/>
            </a:lvl1pPr>
            <a:lvl2pPr marL="336042" indent="0">
              <a:buNone/>
              <a:defRPr/>
            </a:lvl2pPr>
            <a:lvl3pPr marL="502920" indent="0">
              <a:buNone/>
              <a:defRPr/>
            </a:lvl3pPr>
            <a:lvl4pPr marL="685800" indent="0">
              <a:buNone/>
              <a:defRPr/>
            </a:lvl4pPr>
            <a:lvl5pPr marL="685800" indent="0">
              <a:buNone/>
              <a:defRPr/>
            </a:lvl5pPr>
          </a:lstStyle>
          <a:p>
            <a:pPr lvl="0"/>
            <a:r>
              <a:rPr lang="en-US" dirty="0"/>
              <a:t>Agenda Line Item 1</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6" y="-8355"/>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41249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9B5ACB06-3CB9-480F-865A-A9E0F9AB49F9}" type="datetimeFigureOut">
              <a:rPr lang="en-US" smtClean="0">
                <a:solidFill>
                  <a:prstClr val="black">
                    <a:tint val="75000"/>
                  </a:prstClr>
                </a:solidFill>
              </a:rPr>
              <a:pPr/>
              <a:t>22/04/18</a:t>
            </a:fld>
            <a:endParaRPr lang="en-US">
              <a:solidFill>
                <a:prstClr val="black">
                  <a:tint val="75000"/>
                </a:prstClr>
              </a:solidFill>
            </a:endParaRPr>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4661775B-D36D-4628-9EEA-86B3FCEAAE2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349875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7620000" cy="85725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00150"/>
            <a:ext cx="7620000" cy="36004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rot="16200000">
            <a:off x="7856152" y="1188720"/>
            <a:ext cx="1828799" cy="365760"/>
          </a:xfrm>
          <a:prstGeom prst="rect">
            <a:avLst/>
          </a:prstGeom>
        </p:spPr>
        <p:txBody>
          <a:bodyPr/>
          <a:lstStyle/>
          <a:p>
            <a:fld id="{B01F9CA3-105E-4857-9057-6DB6197DA786}" type="datetimeFigureOut">
              <a:rPr lang="en-US" smtClean="0"/>
              <a:t>22/04/18</a:t>
            </a:fld>
            <a:endParaRPr lang="en-US"/>
          </a:p>
        </p:txBody>
      </p:sp>
      <p:sp>
        <p:nvSpPr>
          <p:cNvPr id="5" name="Footer Placeholder 4"/>
          <p:cNvSpPr>
            <a:spLocks noGrp="1"/>
          </p:cNvSpPr>
          <p:nvPr>
            <p:ph type="ftr" sz="quarter" idx="11"/>
          </p:nvPr>
        </p:nvSpPr>
        <p:spPr>
          <a:xfrm rot="16200000">
            <a:off x="7882821" y="2990850"/>
            <a:ext cx="1775461" cy="365760"/>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F5CE407-6216-4202-80E4-A30DC2F709B2}" type="slidenum">
              <a:rPr lang="en-US" smtClean="0"/>
              <a:t>‹#›</a:t>
            </a:fld>
            <a:endParaRPr lang="en-US"/>
          </a:p>
        </p:txBody>
      </p:sp>
    </p:spTree>
    <p:extLst>
      <p:ext uri="{BB962C8B-B14F-4D97-AF65-F5344CB8AC3E}">
        <p14:creationId xmlns:p14="http://schemas.microsoft.com/office/powerpoint/2010/main" val="38490877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8_Text and Chart Layout2">
    <p:spTree>
      <p:nvGrpSpPr>
        <p:cNvPr id="1" name=""/>
        <p:cNvGrpSpPr/>
        <p:nvPr/>
      </p:nvGrpSpPr>
      <p:grpSpPr>
        <a:xfrm>
          <a:off x="0" y="0"/>
          <a:ext cx="0" cy="0"/>
          <a:chOff x="0" y="0"/>
          <a:chExt cx="0" cy="0"/>
        </a:xfrm>
      </p:grpSpPr>
      <p:sp>
        <p:nvSpPr>
          <p:cNvPr id="11" name="Rectangle 10"/>
          <p:cNvSpPr/>
          <p:nvPr userDrawn="1"/>
        </p:nvSpPr>
        <p:spPr>
          <a:xfrm>
            <a:off x="0" y="1"/>
            <a:ext cx="6379968" cy="5143500"/>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6" name="Title 1"/>
          <p:cNvSpPr>
            <a:spLocks noGrp="1"/>
          </p:cNvSpPr>
          <p:nvPr>
            <p:ph type="title"/>
          </p:nvPr>
        </p:nvSpPr>
        <p:spPr>
          <a:xfrm>
            <a:off x="6463508" y="924685"/>
            <a:ext cx="2598276" cy="2365325"/>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8" name="Text Placeholder 6"/>
          <p:cNvSpPr>
            <a:spLocks noGrp="1"/>
          </p:cNvSpPr>
          <p:nvPr>
            <p:ph type="body" sz="quarter" idx="11"/>
          </p:nvPr>
        </p:nvSpPr>
        <p:spPr>
          <a:xfrm>
            <a:off x="6463508" y="3340041"/>
            <a:ext cx="2598276" cy="1513806"/>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9" name="Text Placeholder 2"/>
          <p:cNvSpPr>
            <a:spLocks noGrp="1"/>
          </p:cNvSpPr>
          <p:nvPr>
            <p:ph type="body" sz="quarter" idx="13" hasCustomPrompt="1"/>
          </p:nvPr>
        </p:nvSpPr>
        <p:spPr>
          <a:xfrm>
            <a:off x="166953" y="148164"/>
            <a:ext cx="1958128" cy="826763"/>
          </a:xfrm>
          <a:prstGeom prst="rect">
            <a:avLst/>
          </a:prstGeom>
        </p:spPr>
        <p:txBody>
          <a:bodyPr/>
          <a:lstStyle>
            <a:lvl1pPr marL="0" marR="0" indent="0" algn="ctr"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a:t>
            </a:r>
          </a:p>
        </p:txBody>
      </p:sp>
      <p:sp>
        <p:nvSpPr>
          <p:cNvPr id="7" name="Slide Number Placeholder 17"/>
          <p:cNvSpPr>
            <a:spLocks noGrp="1"/>
          </p:cNvSpPr>
          <p:nvPr>
            <p:ph type="sldNum" sz="quarter" idx="12"/>
          </p:nvPr>
        </p:nvSpPr>
        <p:spPr>
          <a:xfrm>
            <a:off x="8852852" y="4921782"/>
            <a:ext cx="290945" cy="220240"/>
          </a:xfrm>
          <a:prstGeom prst="rect">
            <a:avLst/>
          </a:prstGeom>
          <a:ln>
            <a:noFill/>
          </a:ln>
        </p:spPr>
        <p:txBody>
          <a:bodyPr/>
          <a:lstStyle>
            <a:lvl1pPr algn="ctr">
              <a:defRPr sz="599">
                <a:solidFill>
                  <a:schemeClr val="tx1"/>
                </a:solidFill>
              </a:defRPr>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425642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Text and Chart Layout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99108"/>
          <a:stretch/>
        </p:blipFill>
        <p:spPr>
          <a:xfrm>
            <a:off x="2071" y="1141284"/>
            <a:ext cx="9141722" cy="3709396"/>
          </a:xfrm>
          <a:prstGeom prst="rect">
            <a:avLst/>
          </a:prstGeom>
        </p:spPr>
      </p:pic>
      <p:sp>
        <p:nvSpPr>
          <p:cNvPr id="8" name="Rectangle 7"/>
          <p:cNvSpPr/>
          <p:nvPr userDrawn="1"/>
        </p:nvSpPr>
        <p:spPr>
          <a:xfrm>
            <a:off x="0" y="1141284"/>
            <a:ext cx="9144000" cy="3709397"/>
          </a:xfrm>
          <a:prstGeom prst="rect">
            <a:avLst/>
          </a:prstGeom>
          <a:blipFill dpi="0" rotWithShape="1">
            <a:blip r:embed="rId3"/>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7" name="Slide Number Placeholder 17"/>
          <p:cNvSpPr>
            <a:spLocks noGrp="1"/>
          </p:cNvSpPr>
          <p:nvPr>
            <p:ph type="sldNum" sz="quarter" idx="12"/>
          </p:nvPr>
        </p:nvSpPr>
        <p:spPr>
          <a:xfrm>
            <a:off x="8852852" y="4921782"/>
            <a:ext cx="290945" cy="220240"/>
          </a:xfrm>
          <a:prstGeom prst="rect">
            <a:avLst/>
          </a:prstGeom>
          <a:ln>
            <a:noFill/>
          </a:ln>
        </p:spPr>
        <p:txBody>
          <a:bodyPr/>
          <a:lstStyle>
            <a:lvl1pPr algn="ctr">
              <a:defRPr sz="599"/>
            </a:lvl1pPr>
          </a:lstStyle>
          <a:p>
            <a:fld id="{A34E5796-B6AC-4C80-ACD7-07B1272A6BDB}" type="slidenum">
              <a:rPr lang="en-US" smtClean="0">
                <a:solidFill>
                  <a:prstClr val="black"/>
                </a:solidFill>
              </a:rPr>
              <a:pPr/>
              <a:t>‹#›</a:t>
            </a:fld>
            <a:endParaRPr lang="en-US">
              <a:solidFill>
                <a:prstClr val="black"/>
              </a:solidFill>
            </a:endParaRPr>
          </a:p>
        </p:txBody>
      </p:sp>
      <p:sp>
        <p:nvSpPr>
          <p:cNvPr id="5" name="Title 1"/>
          <p:cNvSpPr>
            <a:spLocks noGrp="1"/>
          </p:cNvSpPr>
          <p:nvPr>
            <p:ph type="title"/>
          </p:nvPr>
        </p:nvSpPr>
        <p:spPr>
          <a:xfrm>
            <a:off x="96799" y="254123"/>
            <a:ext cx="8325842" cy="413535"/>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60"/>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
        <p:nvSpPr>
          <p:cNvPr id="3" name="Text Placeholder 2"/>
          <p:cNvSpPr>
            <a:spLocks noGrp="1"/>
          </p:cNvSpPr>
          <p:nvPr>
            <p:ph type="body" sz="quarter" idx="13" hasCustomPrompt="1"/>
          </p:nvPr>
        </p:nvSpPr>
        <p:spPr>
          <a:xfrm>
            <a:off x="247651" y="4245649"/>
            <a:ext cx="8605838" cy="605030"/>
          </a:xfrm>
          <a:prstGeom prst="rect">
            <a:avLst/>
          </a:prstGeom>
        </p:spPr>
        <p:txBody>
          <a:bodyPr/>
          <a:lstStyle>
            <a:lvl1pPr marL="0" marR="0" indent="0" algn="ctr"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bg1"/>
                </a:solidFill>
                <a:effectLst/>
                <a:latin typeface="+mn-lt"/>
                <a:ea typeface="+mn-ea"/>
                <a:cs typeface="+mn-cs"/>
              </a:defRPr>
            </a:lvl1pPr>
            <a:lvl2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Tree>
    <p:extLst>
      <p:ext uri="{BB962C8B-B14F-4D97-AF65-F5344CB8AC3E}">
        <p14:creationId xmlns:p14="http://schemas.microsoft.com/office/powerpoint/2010/main" val="371712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247651" y="4245649"/>
            <a:ext cx="8605838" cy="605030"/>
          </a:xfrm>
          <a:prstGeom prst="rect">
            <a:avLst/>
          </a:prstGeom>
        </p:spPr>
        <p:txBody>
          <a:bodyPr/>
          <a:lstStyle>
            <a:lvl1pPr marL="0" marR="0" indent="0" algn="ctr"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 Edit Master text styles</a:t>
            </a:r>
          </a:p>
          <a:p>
            <a:pPr lvl="0"/>
            <a:endParaRPr lang="en-US" dirty="0"/>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60"/>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7506945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A34E5796-B6AC-4C80-ACD7-07B1272A6BDB}" type="slidenum">
              <a:rPr lang="en-US" smtClean="0"/>
              <a:pPr/>
              <a:t>‹#›</a:t>
            </a:fld>
            <a:endParaRPr lang="en-US"/>
          </a:p>
        </p:txBody>
      </p:sp>
      <p:sp>
        <p:nvSpPr>
          <p:cNvPr id="8" name="Text Placeholder 2"/>
          <p:cNvSpPr>
            <a:spLocks noGrp="1"/>
          </p:cNvSpPr>
          <p:nvPr>
            <p:ph type="body" sz="quarter" idx="13" hasCustomPrompt="1"/>
          </p:nvPr>
        </p:nvSpPr>
        <p:spPr>
          <a:xfrm>
            <a:off x="6455802" y="1368505"/>
            <a:ext cx="2059548" cy="955313"/>
          </a:xfrm>
          <a:prstGeom prst="rect">
            <a:avLst/>
          </a:prstGeom>
        </p:spPr>
        <p:txBody>
          <a:bodyPr/>
          <a:lstStyle>
            <a:lvl1pPr marL="0" marR="0" indent="0" algn="just"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lang="en-US" sz="1099" kern="1200" spc="-20" baseline="0" dirty="0" smtClean="0">
                <a:solidFill>
                  <a:schemeClr val="tx1"/>
                </a:solidFill>
                <a:effectLst/>
                <a:latin typeface="+mn-lt"/>
                <a:ea typeface="+mn-ea"/>
                <a:cs typeface="+mn-cs"/>
              </a:defRPr>
            </a:lvl1pPr>
            <a:lvl2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2pPr>
            <a:lvl3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3pPr>
            <a:lvl4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smtClean="0">
                <a:solidFill>
                  <a:schemeClr val="bg1"/>
                </a:solidFill>
                <a:effectLst/>
                <a:latin typeface="+mn-lt"/>
                <a:ea typeface="+mn-ea"/>
                <a:cs typeface="+mn-cs"/>
              </a:defRPr>
            </a:lvl4pPr>
            <a:lvl5pPr marL="0" indent="0" algn="ctr" defTabSz="456755" rtl="0" eaLnBrk="1" latinLnBrk="0" hangingPunct="1">
              <a:spcBef>
                <a:spcPts val="400"/>
              </a:spcBef>
              <a:spcAft>
                <a:spcPts val="599"/>
              </a:spcAft>
              <a:buClr>
                <a:schemeClr val="accent3"/>
              </a:buClr>
              <a:buFont typeface="Arial" panose="020B0604020202020204" pitchFamily="34" charset="0"/>
              <a:buNone/>
              <a:defRPr lang="en-US" sz="1099" kern="1200" spc="-20" baseline="0" dirty="0">
                <a:solidFill>
                  <a:schemeClr val="bg1"/>
                </a:solidFill>
                <a:effectLst/>
                <a:latin typeface="+mn-lt"/>
                <a:ea typeface="+mn-ea"/>
                <a:cs typeface="+mn-cs"/>
              </a:defRPr>
            </a:lvl5pPr>
          </a:lstStyle>
          <a:p>
            <a:pPr marL="0" marR="0" lvl="0" indent="0" algn="ctr" defTabSz="456755" rtl="0" eaLnBrk="1" fontAlgn="auto" latinLnBrk="0" hangingPunct="1">
              <a:lnSpc>
                <a:spcPct val="100000"/>
              </a:lnSpc>
              <a:spcBef>
                <a:spcPts val="400"/>
              </a:spcBef>
              <a:spcAft>
                <a:spcPts val="599"/>
              </a:spcAft>
              <a:buClr>
                <a:schemeClr val="accent3"/>
              </a:buClr>
              <a:buSzTx/>
              <a:buFont typeface="Arial" panose="020B0604020202020204" pitchFamily="34" charset="0"/>
              <a:buNone/>
              <a:tabLst/>
              <a:defRPr/>
            </a:pPr>
            <a:r>
              <a:rPr lang="en-US" dirty="0"/>
              <a:t>Edit Master text styles Edit Master text styles Edit Master text styles Edit Master text styles Edit Master text styles Edit Master text styles</a:t>
            </a:r>
          </a:p>
        </p:txBody>
      </p:sp>
      <p:sp>
        <p:nvSpPr>
          <p:cNvPr id="7" name="Title 1"/>
          <p:cNvSpPr>
            <a:spLocks noGrp="1"/>
          </p:cNvSpPr>
          <p:nvPr>
            <p:ph type="title"/>
          </p:nvPr>
        </p:nvSpPr>
        <p:spPr>
          <a:xfrm>
            <a:off x="96799" y="254123"/>
            <a:ext cx="8325842" cy="413535"/>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6" name="Text Placeholder 6"/>
          <p:cNvSpPr>
            <a:spLocks noGrp="1"/>
          </p:cNvSpPr>
          <p:nvPr>
            <p:ph type="body" sz="quarter" idx="11"/>
          </p:nvPr>
        </p:nvSpPr>
        <p:spPr>
          <a:xfrm>
            <a:off x="96838" y="667660"/>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98443333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a:lstStyle>
            <a:lvl1pPr>
              <a:lnSpc>
                <a:spcPct val="80000"/>
              </a:lnSpc>
              <a:defRPr sz="4796"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40"/>
            <a:ext cx="8229600" cy="979487"/>
          </a:xfrm>
          <a:prstGeom prst="rect">
            <a:avLst/>
          </a:prstGeom>
        </p:spPr>
        <p:txBody>
          <a:bodyPr vert="horz"/>
          <a:lstStyle>
            <a:lvl1pPr marL="0" indent="0" algn="ctr">
              <a:buNone/>
              <a:defRPr sz="1799"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34463605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8"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04" indent="-274055">
              <a:spcBef>
                <a:spcPts val="0"/>
              </a:spcBef>
              <a:spcAft>
                <a:spcPts val="899"/>
              </a:spcAft>
              <a:buClr>
                <a:schemeClr val="accent1"/>
              </a:buClr>
              <a:defRPr sz="1598" spc="-30">
                <a:solidFill>
                  <a:schemeClr val="tx1">
                    <a:lumMod val="85000"/>
                    <a:lumOff val="15000"/>
                  </a:schemeClr>
                </a:solidFill>
                <a:latin typeface="Arial"/>
                <a:cs typeface="Arial"/>
              </a:defRPr>
            </a:lvl2pPr>
            <a:lvl3pPr marL="548105" indent="-182702">
              <a:spcBef>
                <a:spcPts val="0"/>
              </a:spcBef>
              <a:spcAft>
                <a:spcPts val="899"/>
              </a:spcAft>
              <a:buClr>
                <a:schemeClr val="accent1"/>
              </a:buClr>
              <a:defRPr sz="1598" spc="-30">
                <a:solidFill>
                  <a:schemeClr val="tx1">
                    <a:lumMod val="85000"/>
                    <a:lumOff val="15000"/>
                  </a:schemeClr>
                </a:solidFill>
                <a:latin typeface="Arial"/>
                <a:cs typeface="Arial"/>
              </a:defRPr>
            </a:lvl3pPr>
            <a:lvl4pPr marL="91351" indent="182702">
              <a:buClr>
                <a:schemeClr val="accent1"/>
              </a:buClr>
              <a:defRPr sz="1199">
                <a:solidFill>
                  <a:schemeClr val="tx1">
                    <a:lumMod val="75000"/>
                    <a:lumOff val="25000"/>
                  </a:schemeClr>
                </a:solidFill>
                <a:latin typeface="Arial"/>
                <a:cs typeface="Arial"/>
              </a:defRPr>
            </a:lvl4pPr>
            <a:lvl5pPr marL="91351" indent="182702">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71" y="1938869"/>
            <a:ext cx="4021667" cy="2954867"/>
          </a:xfrm>
          <a:prstGeom prst="rect">
            <a:avLst/>
          </a:prstGeom>
        </p:spPr>
        <p:txBody>
          <a:bodyPr vert="horz"/>
          <a:lstStyle>
            <a:lvl1pPr marL="274055" indent="-274055">
              <a:lnSpc>
                <a:spcPts val="2098"/>
              </a:lnSpc>
              <a:spcBef>
                <a:spcPts val="0"/>
              </a:spcBef>
              <a:spcAft>
                <a:spcPts val="599"/>
              </a:spcAft>
              <a:buClr>
                <a:schemeClr val="accent1"/>
              </a:buClr>
              <a:defRPr sz="1598" kern="0" spc="-20"/>
            </a:lvl1pPr>
            <a:lvl2pPr marL="365404" indent="-274055">
              <a:lnSpc>
                <a:spcPts val="2098"/>
              </a:lnSpc>
              <a:spcBef>
                <a:spcPts val="0"/>
              </a:spcBef>
              <a:spcAft>
                <a:spcPts val="599"/>
              </a:spcAft>
              <a:buClr>
                <a:schemeClr val="accent1"/>
              </a:buClr>
              <a:defRPr sz="1598" kern="0" spc="-20"/>
            </a:lvl2pPr>
            <a:lvl3pPr marL="548105" indent="-182702">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23" name="Text Placeholder 2"/>
          <p:cNvSpPr>
            <a:spLocks noGrp="1"/>
          </p:cNvSpPr>
          <p:nvPr>
            <p:ph type="body" sz="quarter" idx="17"/>
          </p:nvPr>
        </p:nvSpPr>
        <p:spPr>
          <a:xfrm>
            <a:off x="4425296" y="1490135"/>
            <a:ext cx="402429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04" indent="-274055">
              <a:spcBef>
                <a:spcPts val="0"/>
              </a:spcBef>
              <a:spcAft>
                <a:spcPts val="899"/>
              </a:spcAft>
              <a:buClr>
                <a:schemeClr val="accent1"/>
              </a:buClr>
              <a:defRPr sz="1598" spc="-30">
                <a:solidFill>
                  <a:schemeClr val="tx1">
                    <a:lumMod val="85000"/>
                    <a:lumOff val="15000"/>
                  </a:schemeClr>
                </a:solidFill>
                <a:latin typeface="Arial"/>
                <a:cs typeface="Arial"/>
              </a:defRPr>
            </a:lvl2pPr>
            <a:lvl3pPr marL="548105" indent="-182702">
              <a:spcBef>
                <a:spcPts val="0"/>
              </a:spcBef>
              <a:spcAft>
                <a:spcPts val="899"/>
              </a:spcAft>
              <a:buClr>
                <a:schemeClr val="accent1"/>
              </a:buClr>
              <a:defRPr sz="1598" spc="-30">
                <a:solidFill>
                  <a:schemeClr val="tx1">
                    <a:lumMod val="85000"/>
                    <a:lumOff val="15000"/>
                  </a:schemeClr>
                </a:solidFill>
                <a:latin typeface="Arial"/>
                <a:cs typeface="Arial"/>
              </a:defRPr>
            </a:lvl3pPr>
            <a:lvl4pPr marL="91351" indent="182702">
              <a:buClr>
                <a:schemeClr val="accent1"/>
              </a:buClr>
              <a:defRPr sz="1199">
                <a:solidFill>
                  <a:schemeClr val="tx1">
                    <a:lumMod val="75000"/>
                    <a:lumOff val="25000"/>
                  </a:schemeClr>
                </a:solidFill>
                <a:latin typeface="Arial"/>
                <a:cs typeface="Arial"/>
              </a:defRPr>
            </a:lvl4pPr>
            <a:lvl5pPr marL="91351" indent="182702">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4" name="Content Placeholder 18"/>
          <p:cNvSpPr>
            <a:spLocks noGrp="1"/>
          </p:cNvSpPr>
          <p:nvPr>
            <p:ph sz="quarter" idx="18"/>
          </p:nvPr>
        </p:nvSpPr>
        <p:spPr>
          <a:xfrm>
            <a:off x="4428069" y="1938869"/>
            <a:ext cx="4021667" cy="2954867"/>
          </a:xfrm>
          <a:prstGeom prst="rect">
            <a:avLst/>
          </a:prstGeom>
        </p:spPr>
        <p:txBody>
          <a:bodyPr vert="horz"/>
          <a:lstStyle>
            <a:lvl1pPr marL="274055" indent="-274055">
              <a:lnSpc>
                <a:spcPts val="2098"/>
              </a:lnSpc>
              <a:spcBef>
                <a:spcPts val="0"/>
              </a:spcBef>
              <a:spcAft>
                <a:spcPts val="599"/>
              </a:spcAft>
              <a:buClr>
                <a:schemeClr val="accent1"/>
              </a:buClr>
              <a:defRPr sz="1598" kern="0" spc="-20"/>
            </a:lvl1pPr>
            <a:lvl2pPr marL="365404" indent="-274055">
              <a:lnSpc>
                <a:spcPts val="2098"/>
              </a:lnSpc>
              <a:spcBef>
                <a:spcPts val="0"/>
              </a:spcBef>
              <a:spcAft>
                <a:spcPts val="599"/>
              </a:spcAft>
              <a:buClr>
                <a:schemeClr val="accent1"/>
              </a:buClr>
              <a:defRPr sz="1598" kern="0" spc="-20"/>
            </a:lvl2pPr>
            <a:lvl3pPr marL="548105" indent="-182702">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8" name="Title 1"/>
          <p:cNvSpPr>
            <a:spLocks noGrp="1"/>
          </p:cNvSpPr>
          <p:nvPr>
            <p:ph type="title"/>
          </p:nvPr>
        </p:nvSpPr>
        <p:spPr>
          <a:xfrm>
            <a:off x="96799" y="254124"/>
            <a:ext cx="8325842" cy="887159"/>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9" name="Text Placeholder 6"/>
          <p:cNvSpPr>
            <a:spLocks noGrp="1"/>
          </p:cNvSpPr>
          <p:nvPr>
            <p:ph type="body" sz="quarter" idx="11"/>
          </p:nvPr>
        </p:nvSpPr>
        <p:spPr>
          <a:xfrm>
            <a:off x="96838" y="667660"/>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28509348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White">
    <p:spTree>
      <p:nvGrpSpPr>
        <p:cNvPr id="1" name=""/>
        <p:cNvGrpSpPr/>
        <p:nvPr/>
      </p:nvGrpSpPr>
      <p:grpSpPr>
        <a:xfrm>
          <a:off x="0" y="0"/>
          <a:ext cx="0" cy="0"/>
          <a:chOff x="0" y="0"/>
          <a:chExt cx="0" cy="0"/>
        </a:xfrm>
      </p:grpSpPr>
      <p:sp>
        <p:nvSpPr>
          <p:cNvPr id="6" name="Rectangle 5"/>
          <p:cNvSpPr/>
          <p:nvPr/>
        </p:nvSpPr>
        <p:spPr>
          <a:xfrm>
            <a:off x="0" y="1364184"/>
            <a:ext cx="9144000" cy="3590876"/>
          </a:xfrm>
          <a:prstGeom prst="rect">
            <a:avLst/>
          </a:prstGeom>
          <a:solidFill>
            <a:schemeClr val="bg1">
              <a:lumMod val="75000"/>
              <a:alpha val="85000"/>
            </a:schemeClr>
          </a:solidFill>
          <a:ln>
            <a:noFill/>
            <a:tailEnd type="triangle" w="lg" len="lg"/>
          </a:ln>
          <a:effectLst/>
        </p:spPr>
        <p:style>
          <a:lnRef idx="2">
            <a:schemeClr val="accent1"/>
          </a:lnRef>
          <a:fillRef idx="0">
            <a:schemeClr val="accent1"/>
          </a:fillRef>
          <a:effectRef idx="1">
            <a:schemeClr val="accent1"/>
          </a:effectRef>
          <a:fontRef idx="minor">
            <a:schemeClr val="tx1"/>
          </a:fontRef>
        </p:style>
        <p:txBody>
          <a:bodyPr lIns="68580" tIns="34290" rIns="68580" bIns="34290" rtlCol="0" anchor="ctr"/>
          <a:lstStyle/>
          <a:p>
            <a:pPr algn="ctr"/>
            <a:endParaRPr lang="en-US" dirty="0">
              <a:solidFill>
                <a:srgbClr val="000000"/>
              </a:solidFill>
            </a:endParaRPr>
          </a:p>
        </p:txBody>
      </p:sp>
      <p:sp>
        <p:nvSpPr>
          <p:cNvPr id="15" name="Title Placeholder 1"/>
          <p:cNvSpPr>
            <a:spLocks noGrp="1"/>
          </p:cNvSpPr>
          <p:nvPr>
            <p:ph type="title" hasCustomPrompt="1"/>
          </p:nvPr>
        </p:nvSpPr>
        <p:spPr>
          <a:xfrm>
            <a:off x="210678" y="139395"/>
            <a:ext cx="8198098" cy="742387"/>
          </a:xfrm>
          <a:prstGeom prst="rect">
            <a:avLst/>
          </a:prstGeom>
        </p:spPr>
        <p:txBody>
          <a:bodyPr vert="horz" lIns="68580" tIns="34290" rIns="68580" bIns="34290" rtlCol="0" anchor="t">
            <a:noAutofit/>
          </a:bodyPr>
          <a:lstStyle>
            <a:lvl1pPr>
              <a:lnSpc>
                <a:spcPct val="80000"/>
              </a:lnSpc>
              <a:defRPr sz="3600" baseline="0"/>
            </a:lvl1pPr>
          </a:lstStyle>
          <a:p>
            <a:r>
              <a:rPr lang="en-US" dirty="0"/>
              <a:t>The quick brown fox jumps over a lazy dog</a:t>
            </a:r>
          </a:p>
        </p:txBody>
      </p:sp>
      <p:sp>
        <p:nvSpPr>
          <p:cNvPr id="10" name="Text Placeholder 2"/>
          <p:cNvSpPr>
            <a:spLocks noGrp="1"/>
          </p:cNvSpPr>
          <p:nvPr>
            <p:ph type="body" sz="quarter" idx="12" hasCustomPrompt="1"/>
          </p:nvPr>
        </p:nvSpPr>
        <p:spPr>
          <a:xfrm>
            <a:off x="6302559" y="1467296"/>
            <a:ext cx="2668448" cy="3376554"/>
          </a:xfrm>
          <a:prstGeom prst="rect">
            <a:avLst/>
          </a:prstGeom>
        </p:spPr>
        <p:txBody>
          <a:bodyPr vert="horz" lIns="68580" tIns="34290" rIns="68580" bIns="34290"/>
          <a:lstStyle>
            <a:lvl1pPr marL="0" indent="0">
              <a:spcBef>
                <a:spcPts val="0"/>
              </a:spcBef>
              <a:spcAft>
                <a:spcPts val="900"/>
              </a:spcAft>
              <a:buClr>
                <a:schemeClr val="accent1"/>
              </a:buClr>
              <a:buNone/>
              <a:defRPr sz="1400" spc="-30">
                <a:solidFill>
                  <a:schemeClr val="tx1">
                    <a:lumMod val="85000"/>
                    <a:lumOff val="15000"/>
                  </a:schemeClr>
                </a:solidFill>
                <a:latin typeface="Arial"/>
                <a:cs typeface="Arial"/>
              </a:defRPr>
            </a:lvl1pPr>
            <a:lvl2pPr marL="365751" indent="-274313">
              <a:spcBef>
                <a:spcPts val="0"/>
              </a:spcBef>
              <a:spcAft>
                <a:spcPts val="900"/>
              </a:spcAft>
              <a:buClr>
                <a:schemeClr val="accent1"/>
              </a:buClr>
              <a:defRPr sz="1600" spc="-30">
                <a:solidFill>
                  <a:schemeClr val="tx1">
                    <a:lumMod val="85000"/>
                    <a:lumOff val="15000"/>
                  </a:schemeClr>
                </a:solidFill>
                <a:latin typeface="Arial"/>
                <a:cs typeface="Arial"/>
              </a:defRPr>
            </a:lvl2pPr>
            <a:lvl3pPr marL="548627" indent="-182876">
              <a:spcBef>
                <a:spcPts val="0"/>
              </a:spcBef>
              <a:spcAft>
                <a:spcPts val="900"/>
              </a:spcAft>
              <a:buClr>
                <a:schemeClr val="accent1"/>
              </a:buClr>
              <a:defRPr sz="1600" spc="-30">
                <a:solidFill>
                  <a:schemeClr val="tx1">
                    <a:lumMod val="85000"/>
                    <a:lumOff val="15000"/>
                  </a:schemeClr>
                </a:solidFill>
                <a:latin typeface="Arial"/>
                <a:cs typeface="Arial"/>
              </a:defRPr>
            </a:lvl3pPr>
            <a:lvl4pPr marL="91438" indent="182876">
              <a:buClr>
                <a:schemeClr val="accent1"/>
              </a:buClr>
              <a:defRPr sz="1200">
                <a:solidFill>
                  <a:schemeClr val="tx1">
                    <a:lumMod val="75000"/>
                    <a:lumOff val="25000"/>
                  </a:schemeClr>
                </a:solidFill>
                <a:latin typeface="Arial"/>
                <a:cs typeface="Arial"/>
              </a:defRPr>
            </a:lvl4pPr>
            <a:lvl5pPr marL="91438" indent="182876">
              <a:buClr>
                <a:schemeClr val="accent1"/>
              </a:buClr>
              <a:defRPr sz="1200">
                <a:solidFill>
                  <a:schemeClr val="tx1">
                    <a:lumMod val="75000"/>
                    <a:lumOff val="25000"/>
                  </a:schemeClr>
                </a:solidFill>
                <a:latin typeface="Arial"/>
                <a:cs typeface="Arial"/>
              </a:defRPr>
            </a:lvl5pPr>
          </a:lstStyle>
          <a:p>
            <a:pPr lvl="0"/>
            <a:r>
              <a:rPr lang="en-US" dirty="0"/>
              <a:t>The quick brown fox jumps over a lazy dog.</a:t>
            </a:r>
          </a:p>
        </p:txBody>
      </p:sp>
      <p:sp>
        <p:nvSpPr>
          <p:cNvPr id="3" name="Content Placeholder 2"/>
          <p:cNvSpPr>
            <a:spLocks noGrp="1"/>
          </p:cNvSpPr>
          <p:nvPr>
            <p:ph sz="quarter" idx="13" hasCustomPrompt="1"/>
          </p:nvPr>
        </p:nvSpPr>
        <p:spPr>
          <a:xfrm>
            <a:off x="210678" y="1361510"/>
            <a:ext cx="5881204" cy="3593549"/>
          </a:xfrm>
          <a:prstGeom prst="rect">
            <a:avLst/>
          </a:prstGeom>
        </p:spPr>
        <p:txBody>
          <a:bodyPr lIns="68580" tIns="34290" rIns="68580" bIns="34290"/>
          <a:lstStyle>
            <a:lvl1pPr marL="0" indent="0">
              <a:buNone/>
              <a:defRPr sz="1800" baseline="0"/>
            </a:lvl1pPr>
          </a:lstStyle>
          <a:p>
            <a:pPr lvl="0"/>
            <a:r>
              <a:rPr lang="en-US" dirty="0"/>
              <a:t>Insert Data Here (Chart, Screenshot, Table)</a:t>
            </a:r>
          </a:p>
        </p:txBody>
      </p:sp>
      <p:sp>
        <p:nvSpPr>
          <p:cNvPr id="9" name="Text Placeholder 8"/>
          <p:cNvSpPr>
            <a:spLocks noGrp="1"/>
          </p:cNvSpPr>
          <p:nvPr>
            <p:ph type="body" sz="quarter" idx="14" hasCustomPrompt="1"/>
          </p:nvPr>
        </p:nvSpPr>
        <p:spPr>
          <a:xfrm>
            <a:off x="211182" y="992991"/>
            <a:ext cx="8759825" cy="307975"/>
          </a:xfrm>
          <a:prstGeom prst="rect">
            <a:avLst/>
          </a:prstGeom>
        </p:spPr>
        <p:txBody>
          <a:bodyPr lIns="68580" tIns="34290" rIns="68580" bIns="34290"/>
          <a:lstStyle>
            <a:lvl1pPr marL="0" indent="0">
              <a:buNone/>
              <a:defRPr sz="1600" baseline="0"/>
            </a:lvl1pPr>
          </a:lstStyle>
          <a:p>
            <a:pPr lvl="0"/>
            <a:r>
              <a:rPr lang="en-US" dirty="0"/>
              <a:t>The quick brown fox jumps over a lazy dog.</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92570600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0" name="Text Placeholder 2"/>
          <p:cNvSpPr>
            <a:spLocks noGrp="1"/>
          </p:cNvSpPr>
          <p:nvPr>
            <p:ph type="body" sz="quarter" idx="12"/>
          </p:nvPr>
        </p:nvSpPr>
        <p:spPr>
          <a:xfrm>
            <a:off x="208898" y="1490135"/>
            <a:ext cx="8243441" cy="355600"/>
          </a:xfrm>
          <a:prstGeom prst="rect">
            <a:avLst/>
          </a:prstGeom>
        </p:spPr>
        <p:txBody>
          <a:bodyPr vert="horz"/>
          <a:lstStyle>
            <a:lvl1pPr marL="0" indent="0">
              <a:spcBef>
                <a:spcPts val="0"/>
              </a:spcBef>
              <a:spcAft>
                <a:spcPts val="899"/>
              </a:spcAft>
              <a:buClr>
                <a:schemeClr val="accent1"/>
              </a:buClr>
              <a:buNone/>
              <a:defRPr sz="1998" b="1" spc="-40">
                <a:solidFill>
                  <a:schemeClr val="tx1">
                    <a:lumMod val="85000"/>
                    <a:lumOff val="15000"/>
                  </a:schemeClr>
                </a:solidFill>
                <a:latin typeface="Arial"/>
                <a:cs typeface="Arial"/>
              </a:defRPr>
            </a:lvl1pPr>
            <a:lvl2pPr marL="365404" indent="-274055">
              <a:spcBef>
                <a:spcPts val="0"/>
              </a:spcBef>
              <a:spcAft>
                <a:spcPts val="899"/>
              </a:spcAft>
              <a:buClr>
                <a:schemeClr val="accent1"/>
              </a:buClr>
              <a:defRPr sz="1598" spc="-30">
                <a:solidFill>
                  <a:schemeClr val="tx1">
                    <a:lumMod val="85000"/>
                    <a:lumOff val="15000"/>
                  </a:schemeClr>
                </a:solidFill>
                <a:latin typeface="Arial"/>
                <a:cs typeface="Arial"/>
              </a:defRPr>
            </a:lvl2pPr>
            <a:lvl3pPr marL="548105" indent="-182702">
              <a:spcBef>
                <a:spcPts val="0"/>
              </a:spcBef>
              <a:spcAft>
                <a:spcPts val="899"/>
              </a:spcAft>
              <a:buClr>
                <a:schemeClr val="accent1"/>
              </a:buClr>
              <a:defRPr sz="1598" spc="-30">
                <a:solidFill>
                  <a:schemeClr val="tx1">
                    <a:lumMod val="85000"/>
                    <a:lumOff val="15000"/>
                  </a:schemeClr>
                </a:solidFill>
                <a:latin typeface="Arial"/>
                <a:cs typeface="Arial"/>
              </a:defRPr>
            </a:lvl3pPr>
            <a:lvl4pPr marL="91351" indent="182702">
              <a:buClr>
                <a:schemeClr val="accent1"/>
              </a:buClr>
              <a:defRPr sz="1199">
                <a:solidFill>
                  <a:schemeClr val="tx1">
                    <a:lumMod val="75000"/>
                    <a:lumOff val="25000"/>
                  </a:schemeClr>
                </a:solidFill>
                <a:latin typeface="Arial"/>
                <a:cs typeface="Arial"/>
              </a:defRPr>
            </a:lvl4pPr>
            <a:lvl5pPr marL="91351" indent="182702">
              <a:buClr>
                <a:schemeClr val="accent1"/>
              </a:buClr>
              <a:defRPr sz="1199">
                <a:solidFill>
                  <a:schemeClr val="tx1">
                    <a:lumMod val="75000"/>
                    <a:lumOff val="25000"/>
                  </a:schemeClr>
                </a:solidFill>
                <a:latin typeface="Arial"/>
                <a:cs typeface="Arial"/>
              </a:defRPr>
            </a:lvl5pPr>
          </a:lstStyle>
          <a:p>
            <a:pPr lvl="0"/>
            <a:r>
              <a:rPr lang="en-US" dirty="0"/>
              <a:t>Click to edit Master text styles</a:t>
            </a:r>
          </a:p>
        </p:txBody>
      </p:sp>
      <p:sp>
        <p:nvSpPr>
          <p:cNvPr id="20" name="Content Placeholder 18"/>
          <p:cNvSpPr>
            <a:spLocks noGrp="1"/>
          </p:cNvSpPr>
          <p:nvPr>
            <p:ph sz="quarter" idx="16"/>
          </p:nvPr>
        </p:nvSpPr>
        <p:spPr>
          <a:xfrm>
            <a:off x="211667" y="1938869"/>
            <a:ext cx="8238066" cy="2954867"/>
          </a:xfrm>
          <a:prstGeom prst="rect">
            <a:avLst/>
          </a:prstGeom>
        </p:spPr>
        <p:txBody>
          <a:bodyPr vert="horz"/>
          <a:lstStyle>
            <a:lvl1pPr marL="274055" indent="-274055">
              <a:lnSpc>
                <a:spcPts val="2098"/>
              </a:lnSpc>
              <a:spcBef>
                <a:spcPts val="0"/>
              </a:spcBef>
              <a:spcAft>
                <a:spcPts val="599"/>
              </a:spcAft>
              <a:buClr>
                <a:schemeClr val="accent1"/>
              </a:buClr>
              <a:defRPr sz="1598" kern="0" spc="-20"/>
            </a:lvl1pPr>
            <a:lvl2pPr marL="365404" indent="-274055">
              <a:lnSpc>
                <a:spcPts val="2098"/>
              </a:lnSpc>
              <a:spcBef>
                <a:spcPts val="0"/>
              </a:spcBef>
              <a:spcAft>
                <a:spcPts val="599"/>
              </a:spcAft>
              <a:buClr>
                <a:schemeClr val="accent1"/>
              </a:buClr>
              <a:defRPr sz="1598" kern="0" spc="-20"/>
            </a:lvl2pPr>
            <a:lvl3pPr marL="548105" indent="-182702">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60"/>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169101083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20" name="Content Placeholder 18"/>
          <p:cNvSpPr>
            <a:spLocks noGrp="1"/>
          </p:cNvSpPr>
          <p:nvPr>
            <p:ph sz="quarter" idx="16"/>
          </p:nvPr>
        </p:nvSpPr>
        <p:spPr>
          <a:xfrm>
            <a:off x="211667" y="1490136"/>
            <a:ext cx="8238066" cy="3403601"/>
          </a:xfrm>
          <a:prstGeom prst="rect">
            <a:avLst/>
          </a:prstGeom>
        </p:spPr>
        <p:txBody>
          <a:bodyPr vert="horz"/>
          <a:lstStyle>
            <a:lvl1pPr marL="274055" indent="-274055">
              <a:lnSpc>
                <a:spcPts val="2098"/>
              </a:lnSpc>
              <a:spcBef>
                <a:spcPts val="0"/>
              </a:spcBef>
              <a:spcAft>
                <a:spcPts val="599"/>
              </a:spcAft>
              <a:buClr>
                <a:schemeClr val="accent1"/>
              </a:buClr>
              <a:defRPr sz="1598" kern="0" spc="-20"/>
            </a:lvl1pPr>
            <a:lvl2pPr marL="365404" indent="-274055">
              <a:lnSpc>
                <a:spcPts val="2098"/>
              </a:lnSpc>
              <a:spcBef>
                <a:spcPts val="0"/>
              </a:spcBef>
              <a:spcAft>
                <a:spcPts val="599"/>
              </a:spcAft>
              <a:buClr>
                <a:schemeClr val="accent1"/>
              </a:buClr>
              <a:defRPr sz="1598" kern="0" spc="-20"/>
            </a:lvl2pPr>
            <a:lvl3pPr marL="548105" indent="-182702">
              <a:lnSpc>
                <a:spcPts val="2098"/>
              </a:lnSpc>
              <a:spcBef>
                <a:spcPts val="0"/>
              </a:spcBef>
              <a:spcAft>
                <a:spcPts val="599"/>
              </a:spcAft>
              <a:buClr>
                <a:schemeClr val="accent1"/>
              </a:buClr>
              <a:defRPr sz="1598" kern="0" spc="-20"/>
            </a:lvl3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96799" y="254124"/>
            <a:ext cx="8325842" cy="887159"/>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7" name="Text Placeholder 6"/>
          <p:cNvSpPr>
            <a:spLocks noGrp="1"/>
          </p:cNvSpPr>
          <p:nvPr>
            <p:ph type="body" sz="quarter" idx="11"/>
          </p:nvPr>
        </p:nvSpPr>
        <p:spPr>
          <a:xfrm>
            <a:off x="96838" y="667660"/>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138966183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ubble Screenshot">
    <p:spTree>
      <p:nvGrpSpPr>
        <p:cNvPr id="1" name=""/>
        <p:cNvGrpSpPr/>
        <p:nvPr/>
      </p:nvGrpSpPr>
      <p:grpSpPr>
        <a:xfrm>
          <a:off x="0" y="0"/>
          <a:ext cx="0" cy="0"/>
          <a:chOff x="0" y="0"/>
          <a:chExt cx="0" cy="0"/>
        </a:xfrm>
      </p:grpSpPr>
      <p:sp>
        <p:nvSpPr>
          <p:cNvPr id="7" name="Rectangle 6"/>
          <p:cNvSpPr/>
          <p:nvPr/>
        </p:nvSpPr>
        <p:spPr>
          <a:xfrm>
            <a:off x="0" y="1141727"/>
            <a:ext cx="9144000" cy="3811275"/>
          </a:xfrm>
          <a:prstGeom prst="rect">
            <a:avLst/>
          </a:prstGeom>
          <a:blipFill dpi="0" rotWithShape="1">
            <a:blip r:embed="rId2"/>
            <a:srcRect/>
            <a:tile tx="0" ty="0" sx="100000" sy="100000" flip="none" algn="tl"/>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8" name="Text Placeholder 2"/>
          <p:cNvSpPr>
            <a:spLocks noGrp="1"/>
          </p:cNvSpPr>
          <p:nvPr>
            <p:ph type="body" sz="quarter" idx="11"/>
          </p:nvPr>
        </p:nvSpPr>
        <p:spPr>
          <a:xfrm>
            <a:off x="6196086" y="1312509"/>
            <a:ext cx="2808406" cy="353524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bg1"/>
                </a:solidFill>
                <a:latin typeface="Arial"/>
                <a:cs typeface="Arial"/>
              </a:defRPr>
            </a:lvl1pPr>
            <a:lvl2pPr marL="91351" indent="182702">
              <a:lnSpc>
                <a:spcPts val="1699"/>
              </a:lnSpc>
              <a:spcBef>
                <a:spcPts val="0"/>
              </a:spcBef>
              <a:spcAft>
                <a:spcPts val="300"/>
              </a:spcAft>
              <a:buClr>
                <a:schemeClr val="accent1"/>
              </a:buClr>
              <a:buFont typeface="Arial" panose="020B0604020202020204" pitchFamily="34" charset="0"/>
              <a:buChar char="•"/>
              <a:defRPr sz="1199" spc="-30" baseline="0">
                <a:solidFill>
                  <a:schemeClr val="bg1"/>
                </a:solidFill>
                <a:latin typeface="Arial"/>
                <a:cs typeface="Arial"/>
              </a:defRPr>
            </a:lvl2pPr>
            <a:lvl3pPr marL="91351" indent="182702">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72" indent="171284">
              <a:spcAft>
                <a:spcPts val="300"/>
              </a:spcAft>
              <a:buClr>
                <a:schemeClr val="accent1"/>
              </a:buClr>
              <a:buFont typeface="Arial" panose="020B0604020202020204" pitchFamily="34" charset="0"/>
              <a:buChar char="•"/>
              <a:defRPr sz="1199" spc="-30" baseline="0">
                <a:solidFill>
                  <a:schemeClr val="bg1"/>
                </a:solidFill>
                <a:latin typeface="Arial"/>
                <a:cs typeface="Arial"/>
              </a:defRPr>
            </a:lvl4pPr>
            <a:lvl5pPr marL="456755" indent="228377">
              <a:spcAft>
                <a:spcPts val="300"/>
              </a:spcAft>
              <a:buClr>
                <a:schemeClr val="accent1"/>
              </a:buClr>
              <a:buFont typeface="Arial" panose="020B0604020202020204" pitchFamily="34" charset="0"/>
              <a:buChar char="•"/>
              <a:defRPr sz="1199" spc="-30" baseline="0">
                <a:solidFill>
                  <a:schemeClr val="bg1"/>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pic>
        <p:nvPicPr>
          <p:cNvPr id="512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6291" y="4661859"/>
            <a:ext cx="1498665" cy="282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a:spLocks noGrp="1"/>
          </p:cNvSpPr>
          <p:nvPr>
            <p:ph type="title"/>
          </p:nvPr>
        </p:nvSpPr>
        <p:spPr>
          <a:xfrm>
            <a:off x="96799" y="254124"/>
            <a:ext cx="8325842" cy="887159"/>
          </a:xfrm>
          <a:prstGeom prst="rect">
            <a:avLst/>
          </a:prstGeom>
        </p:spPr>
        <p:txBody>
          <a:bodyPr/>
          <a:lstStyle>
            <a:lvl1pPr marL="0" algn="l" defTabSz="456755" rtl="0" eaLnBrk="1" latinLnBrk="0" hangingPunct="1">
              <a:lnSpc>
                <a:spcPct val="80000"/>
              </a:lnSpc>
              <a:spcBef>
                <a:spcPct val="0"/>
              </a:spcBef>
              <a:buNone/>
              <a:defRPr lang="en-US" sz="2997" b="1" kern="1200" spc="-270" baseline="0" dirty="0">
                <a:solidFill>
                  <a:schemeClr val="tx1"/>
                </a:solidFill>
                <a:effectLst/>
                <a:latin typeface="+mj-lt"/>
                <a:ea typeface="ＭＳ Ｐゴシック" charset="0"/>
                <a:cs typeface="ＭＳ Ｐゴシック" charset="0"/>
              </a:defRPr>
            </a:lvl1pPr>
          </a:lstStyle>
          <a:p>
            <a:r>
              <a:rPr lang="en-US" dirty="0"/>
              <a:t>Click to edit Master title style</a:t>
            </a:r>
          </a:p>
        </p:txBody>
      </p:sp>
      <p:sp>
        <p:nvSpPr>
          <p:cNvPr id="10" name="Text Placeholder 6"/>
          <p:cNvSpPr>
            <a:spLocks noGrp="1"/>
          </p:cNvSpPr>
          <p:nvPr>
            <p:ph type="body" sz="quarter" idx="12"/>
          </p:nvPr>
        </p:nvSpPr>
        <p:spPr>
          <a:xfrm>
            <a:off x="96838" y="667660"/>
            <a:ext cx="8955722" cy="473624"/>
          </a:xfrm>
          <a:prstGeom prst="rect">
            <a:avLst/>
          </a:prstGeom>
        </p:spPr>
        <p:txBody>
          <a:bodyPr/>
          <a:lstStyle>
            <a:lvl1pPr marL="0" indent="0">
              <a:buNone/>
              <a:defRPr lang="en-US" sz="1399" kern="1200" dirty="0" smtClean="0">
                <a:solidFill>
                  <a:schemeClr val="tx1">
                    <a:lumMod val="85000"/>
                    <a:lumOff val="15000"/>
                  </a:schemeClr>
                </a:solidFill>
                <a:latin typeface="+mn-lt"/>
                <a:ea typeface="MS PGothic" pitchFamily="34" charset="-128"/>
                <a:cs typeface="Arial"/>
              </a:defRPr>
            </a:lvl1pPr>
            <a:lvl2pPr marL="335714" indent="0">
              <a:buNone/>
              <a:defRPr lang="en-US" sz="1399" kern="1200" dirty="0" smtClean="0">
                <a:solidFill>
                  <a:schemeClr val="tx1">
                    <a:lumMod val="85000"/>
                    <a:lumOff val="15000"/>
                  </a:schemeClr>
                </a:solidFill>
                <a:latin typeface="+mn-lt"/>
                <a:ea typeface="MS PGothic" pitchFamily="34" charset="-128"/>
                <a:cs typeface="Arial"/>
              </a:defRPr>
            </a:lvl2pPr>
            <a:lvl3pPr marL="502430" indent="0">
              <a:buNone/>
              <a:defRPr lang="en-US" sz="1399" kern="1200" dirty="0" smtClean="0">
                <a:solidFill>
                  <a:schemeClr val="tx1">
                    <a:lumMod val="85000"/>
                    <a:lumOff val="15000"/>
                  </a:schemeClr>
                </a:solidFill>
                <a:latin typeface="+mn-lt"/>
                <a:ea typeface="MS PGothic" pitchFamily="34" charset="-128"/>
                <a:cs typeface="Arial"/>
              </a:defRPr>
            </a:lvl3pPr>
            <a:lvl4pPr marL="685132" indent="0">
              <a:buNone/>
              <a:defRPr lang="en-US" sz="1399" kern="1200" dirty="0" smtClean="0">
                <a:solidFill>
                  <a:schemeClr val="tx1">
                    <a:lumMod val="85000"/>
                    <a:lumOff val="15000"/>
                  </a:schemeClr>
                </a:solidFill>
                <a:latin typeface="+mn-lt"/>
                <a:ea typeface="MS PGothic" pitchFamily="34" charset="-128"/>
                <a:cs typeface="Arial"/>
              </a:defRPr>
            </a:lvl4pPr>
            <a:lvl5pPr marL="685132" indent="0">
              <a:buNone/>
              <a:defRPr lang="en-US" sz="1399" kern="1200" dirty="0">
                <a:solidFill>
                  <a:schemeClr val="tx1">
                    <a:lumMod val="85000"/>
                    <a:lumOff val="15000"/>
                  </a:schemeClr>
                </a:solidFill>
                <a:latin typeface="+mn-lt"/>
                <a:ea typeface="MS PGothic" pitchFamily="34" charset="-128"/>
                <a:cs typeface="Arial"/>
              </a:defRPr>
            </a:lvl5pPr>
          </a:lstStyle>
          <a:p>
            <a:pPr lvl="0"/>
            <a:r>
              <a:rPr lang="en-US" dirty="0"/>
              <a:t>Edit Master text styles</a:t>
            </a:r>
          </a:p>
        </p:txBody>
      </p:sp>
    </p:spTree>
    <p:extLst>
      <p:ext uri="{BB962C8B-B14F-4D97-AF65-F5344CB8AC3E}">
        <p14:creationId xmlns:p14="http://schemas.microsoft.com/office/powerpoint/2010/main" val="190588123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nsights BG 75 - 4 Charts">
    <p:spTree>
      <p:nvGrpSpPr>
        <p:cNvPr id="1" name=""/>
        <p:cNvGrpSpPr/>
        <p:nvPr/>
      </p:nvGrpSpPr>
      <p:grpSpPr>
        <a:xfrm>
          <a:off x="0" y="0"/>
          <a:ext cx="0" cy="0"/>
          <a:chOff x="0" y="0"/>
          <a:chExt cx="0" cy="0"/>
        </a:xfrm>
      </p:grpSpPr>
      <p:sp>
        <p:nvSpPr>
          <p:cNvPr id="10" name="Rectangle 9"/>
          <p:cNvSpPr/>
          <p:nvPr userDrawn="1"/>
        </p:nvSpPr>
        <p:spPr>
          <a:xfrm>
            <a:off x="1" y="3"/>
            <a:ext cx="633719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15" name="Title Placeholder 1"/>
          <p:cNvSpPr>
            <a:spLocks noGrp="1"/>
          </p:cNvSpPr>
          <p:nvPr>
            <p:ph type="title" hasCustomPrompt="1"/>
          </p:nvPr>
        </p:nvSpPr>
        <p:spPr>
          <a:xfrm>
            <a:off x="6497180" y="258674"/>
            <a:ext cx="2468913" cy="742387"/>
          </a:xfrm>
          <a:prstGeom prst="rect">
            <a:avLst/>
          </a:prstGeom>
        </p:spPr>
        <p:txBody>
          <a:bodyPr vert="horz" lIns="91440" tIns="45720" rIns="91440" bIns="45720" rtlCol="0" anchor="t">
            <a:normAutofit/>
          </a:bodyPr>
          <a:lstStyle>
            <a:lvl1pPr>
              <a:defRPr sz="1799"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6495394" y="1028702"/>
            <a:ext cx="2470527" cy="392976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tx1">
                    <a:lumMod val="85000"/>
                    <a:lumOff val="15000"/>
                  </a:schemeClr>
                </a:solidFill>
                <a:latin typeface="Arial"/>
                <a:cs typeface="Arial"/>
              </a:defRPr>
            </a:lvl1pPr>
            <a:lvl2pPr marL="91351" indent="182702">
              <a:lnSpc>
                <a:spcPts val="1699"/>
              </a:lnSpc>
              <a:spcBef>
                <a:spcPts val="0"/>
              </a:spcBef>
              <a:spcAft>
                <a:spcPts val="300"/>
              </a:spcAft>
              <a:buClr>
                <a:schemeClr val="accent1"/>
              </a:buClr>
              <a:buFont typeface="Arial" panose="020B0604020202020204" pitchFamily="34" charset="0"/>
              <a:buChar char="•"/>
              <a:defRPr sz="1199" spc="-30" baseline="0">
                <a:solidFill>
                  <a:schemeClr val="tx1">
                    <a:lumMod val="85000"/>
                    <a:lumOff val="15000"/>
                  </a:schemeClr>
                </a:solidFill>
                <a:latin typeface="Arial"/>
                <a:cs typeface="Arial"/>
              </a:defRPr>
            </a:lvl2pPr>
            <a:lvl3pPr marL="91351" indent="182702">
              <a:lnSpc>
                <a:spcPts val="1699"/>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72" indent="171284">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4pPr>
            <a:lvl5pPr marL="456755" indent="228377">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1" name="Content Placeholder 18"/>
          <p:cNvSpPr>
            <a:spLocks noGrp="1"/>
          </p:cNvSpPr>
          <p:nvPr>
            <p:ph sz="quarter" idx="12" hasCustomPrompt="1"/>
          </p:nvPr>
        </p:nvSpPr>
        <p:spPr>
          <a:xfrm>
            <a:off x="37007" y="861370"/>
            <a:ext cx="3108960" cy="1828801"/>
          </a:xfrm>
          <a:prstGeom prst="rect">
            <a:avLst/>
          </a:prstGeom>
        </p:spPr>
        <p:txBody>
          <a:bodyPr vert="horz"/>
          <a:lstStyle>
            <a:lvl1pPr marL="0" indent="0">
              <a:buNone/>
              <a:defRPr sz="1099" spc="0">
                <a:solidFill>
                  <a:srgbClr val="FFFFFF"/>
                </a:solidFill>
                <a:latin typeface="Arial"/>
                <a:cs typeface="Arial"/>
              </a:defRPr>
            </a:lvl1pPr>
            <a:lvl2pPr marL="0" indent="-182702">
              <a:buFont typeface="Arial"/>
              <a:buChar char="•"/>
              <a:defRPr sz="1598" spc="-50">
                <a:solidFill>
                  <a:srgbClr val="FFFFFF"/>
                </a:solidFill>
                <a:latin typeface="Arial"/>
                <a:cs typeface="Arial"/>
              </a:defRPr>
            </a:lvl2pPr>
            <a:lvl3pPr marL="411080">
              <a:spcBef>
                <a:spcPts val="400"/>
              </a:spcBef>
              <a:defRPr sz="1598" spc="-50">
                <a:solidFill>
                  <a:srgbClr val="FFFFFF"/>
                </a:solidFill>
                <a:latin typeface="Arial"/>
                <a:cs typeface="Arial"/>
              </a:defRPr>
            </a:lvl3pPr>
            <a:lvl4pPr marL="502430" indent="-228377">
              <a:buFont typeface="Arial" panose="020B0604020202020204" pitchFamily="34" charset="0"/>
              <a:buChar char="•"/>
              <a:defRPr lang="en-US" sz="1598" kern="1200" spc="-50" dirty="0" smtClean="0">
                <a:solidFill>
                  <a:srgbClr val="FFFFFF"/>
                </a:solidFill>
                <a:latin typeface="Arial"/>
                <a:ea typeface="+mn-ea"/>
                <a:cs typeface="Arial"/>
              </a:defRPr>
            </a:lvl4pPr>
            <a:lvl5pPr marL="593780" indent="-228377">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33" name="Slide Number Placeholder 17"/>
          <p:cNvSpPr txBox="1">
            <a:spLocks/>
          </p:cNvSpPr>
          <p:nvPr userDrawn="1"/>
        </p:nvSpPr>
        <p:spPr>
          <a:xfrm>
            <a:off x="5934221" y="4958466"/>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599" smtClean="0">
                <a:solidFill>
                  <a:prstClr val="white">
                    <a:lumMod val="85000"/>
                  </a:prstClr>
                </a:solidFill>
              </a:rPr>
              <a:pPr algn="r"/>
              <a:t>‹#›</a:t>
            </a:fld>
            <a:endParaRPr lang="en-US" sz="599" dirty="0">
              <a:solidFill>
                <a:prstClr val="white">
                  <a:lumMod val="85000"/>
                </a:prstClr>
              </a:solidFill>
            </a:endParaRPr>
          </a:p>
        </p:txBody>
      </p:sp>
      <p:sp>
        <p:nvSpPr>
          <p:cNvPr id="12" name="Text Placeholder 2"/>
          <p:cNvSpPr>
            <a:spLocks noGrp="1"/>
          </p:cNvSpPr>
          <p:nvPr>
            <p:ph type="body" sz="quarter" idx="13" hasCustomPrompt="1"/>
          </p:nvPr>
        </p:nvSpPr>
        <p:spPr>
          <a:xfrm>
            <a:off x="1138" y="581025"/>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55" indent="0">
              <a:buNone/>
              <a:defRPr sz="1199">
                <a:solidFill>
                  <a:schemeClr val="bg1"/>
                </a:solidFill>
              </a:defRPr>
            </a:lvl2pPr>
            <a:lvl3pPr marL="913509" indent="0">
              <a:buNone/>
              <a:defRPr sz="1199">
                <a:solidFill>
                  <a:schemeClr val="bg1"/>
                </a:solidFill>
              </a:defRPr>
            </a:lvl3pPr>
            <a:lvl4pPr marL="1370263" indent="0">
              <a:buNone/>
              <a:defRPr sz="1199">
                <a:solidFill>
                  <a:schemeClr val="bg1"/>
                </a:solidFill>
              </a:defRPr>
            </a:lvl4pPr>
            <a:lvl5pPr marL="1827017" indent="0">
              <a:buNone/>
              <a:defRPr sz="1199">
                <a:solidFill>
                  <a:schemeClr val="bg1"/>
                </a:solidFill>
              </a:defRPr>
            </a:lvl5pPr>
          </a:lstStyle>
          <a:p>
            <a:pPr lvl="0"/>
            <a:r>
              <a:rPr lang="en-US" dirty="0"/>
              <a:t>Click To Edit Master Text Styles</a:t>
            </a:r>
          </a:p>
        </p:txBody>
      </p:sp>
      <p:sp>
        <p:nvSpPr>
          <p:cNvPr id="9" name="Content Placeholder 18"/>
          <p:cNvSpPr>
            <a:spLocks noGrp="1"/>
          </p:cNvSpPr>
          <p:nvPr>
            <p:ph sz="quarter" idx="14" hasCustomPrompt="1"/>
          </p:nvPr>
        </p:nvSpPr>
        <p:spPr>
          <a:xfrm>
            <a:off x="3191339" y="861370"/>
            <a:ext cx="3108960" cy="1828801"/>
          </a:xfrm>
          <a:prstGeom prst="rect">
            <a:avLst/>
          </a:prstGeom>
        </p:spPr>
        <p:txBody>
          <a:bodyPr vert="horz"/>
          <a:lstStyle>
            <a:lvl1pPr marL="0" indent="0">
              <a:buNone/>
              <a:defRPr lang="en-US" sz="1099" kern="1200" spc="0" baseline="0" dirty="0" smtClean="0">
                <a:solidFill>
                  <a:srgbClr val="FFFFFF"/>
                </a:solidFill>
                <a:latin typeface="Arial"/>
                <a:ea typeface="+mn-ea"/>
                <a:cs typeface="Arial"/>
              </a:defRPr>
            </a:lvl1pPr>
            <a:lvl2pPr marL="0" indent="-182702">
              <a:buFont typeface="Arial"/>
              <a:buChar char="•"/>
              <a:defRPr sz="1598" spc="-50">
                <a:solidFill>
                  <a:srgbClr val="FFFFFF"/>
                </a:solidFill>
                <a:latin typeface="Arial"/>
                <a:cs typeface="Arial"/>
              </a:defRPr>
            </a:lvl2pPr>
            <a:lvl3pPr marL="411080">
              <a:spcBef>
                <a:spcPts val="400"/>
              </a:spcBef>
              <a:defRPr sz="1598" spc="-50">
                <a:solidFill>
                  <a:srgbClr val="FFFFFF"/>
                </a:solidFill>
                <a:latin typeface="Arial"/>
                <a:cs typeface="Arial"/>
              </a:defRPr>
            </a:lvl3pPr>
            <a:lvl4pPr marL="502430" indent="-228377">
              <a:buFont typeface="Arial" panose="020B0604020202020204" pitchFamily="34" charset="0"/>
              <a:buChar char="•"/>
              <a:defRPr lang="en-US" sz="1598" kern="1200" spc="-50" dirty="0" smtClean="0">
                <a:solidFill>
                  <a:srgbClr val="FFFFFF"/>
                </a:solidFill>
                <a:latin typeface="Arial"/>
                <a:ea typeface="+mn-ea"/>
                <a:cs typeface="Arial"/>
              </a:defRPr>
            </a:lvl4pPr>
            <a:lvl5pPr marL="593780" indent="-228377">
              <a:buFont typeface="Arial"/>
              <a:buChar char="•"/>
              <a:defRPr sz="1399" spc="-10">
                <a:solidFill>
                  <a:schemeClr val="tx1">
                    <a:lumMod val="85000"/>
                    <a:lumOff val="15000"/>
                  </a:schemeClr>
                </a:solidFill>
                <a:latin typeface="Arial"/>
                <a:cs typeface="Arial"/>
              </a:defRPr>
            </a:lvl5pPr>
          </a:lstStyle>
          <a:p>
            <a:pPr marL="0" lvl="0" indent="0" algn="l" defTabSz="456755" rtl="0" eaLnBrk="1" latinLnBrk="0" hangingPunct="1">
              <a:spcBef>
                <a:spcPct val="20000"/>
              </a:spcBef>
              <a:buFont typeface="Arial"/>
              <a:buNone/>
            </a:pPr>
            <a:r>
              <a:rPr lang="en-US" dirty="0"/>
              <a:t>Click to add chart</a:t>
            </a:r>
          </a:p>
        </p:txBody>
      </p:sp>
      <p:sp>
        <p:nvSpPr>
          <p:cNvPr id="11" name="Content Placeholder 18"/>
          <p:cNvSpPr>
            <a:spLocks noGrp="1"/>
          </p:cNvSpPr>
          <p:nvPr>
            <p:ph sz="quarter" idx="15" hasCustomPrompt="1"/>
          </p:nvPr>
        </p:nvSpPr>
        <p:spPr>
          <a:xfrm>
            <a:off x="37007" y="3084053"/>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02">
              <a:buFont typeface="Arial"/>
              <a:buChar char="•"/>
              <a:defRPr sz="1598" spc="-50">
                <a:solidFill>
                  <a:srgbClr val="FFFFFF"/>
                </a:solidFill>
                <a:latin typeface="Arial"/>
                <a:cs typeface="Arial"/>
              </a:defRPr>
            </a:lvl2pPr>
            <a:lvl3pPr marL="411080">
              <a:spcBef>
                <a:spcPts val="400"/>
              </a:spcBef>
              <a:defRPr sz="1598" spc="-50">
                <a:solidFill>
                  <a:srgbClr val="FFFFFF"/>
                </a:solidFill>
                <a:latin typeface="Arial"/>
                <a:cs typeface="Arial"/>
              </a:defRPr>
            </a:lvl3pPr>
            <a:lvl4pPr marL="502430" indent="-228377">
              <a:buFont typeface="Arial" panose="020B0604020202020204" pitchFamily="34" charset="0"/>
              <a:buChar char="•"/>
              <a:defRPr lang="en-US" sz="1598" kern="1200" spc="-50" dirty="0" smtClean="0">
                <a:solidFill>
                  <a:srgbClr val="FFFFFF"/>
                </a:solidFill>
                <a:latin typeface="Arial"/>
                <a:ea typeface="+mn-ea"/>
                <a:cs typeface="Arial"/>
              </a:defRPr>
            </a:lvl4pPr>
            <a:lvl5pPr marL="593780" indent="-228377">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13" name="Text Placeholder 2"/>
          <p:cNvSpPr>
            <a:spLocks noGrp="1"/>
          </p:cNvSpPr>
          <p:nvPr>
            <p:ph type="body" sz="quarter" idx="16" hasCustomPrompt="1"/>
          </p:nvPr>
        </p:nvSpPr>
        <p:spPr>
          <a:xfrm>
            <a:off x="1138" y="2796883"/>
            <a:ext cx="6337190" cy="274320"/>
          </a:xfrm>
          <a:prstGeom prst="rect">
            <a:avLst/>
          </a:prstGeom>
        </p:spPr>
        <p:txBody>
          <a:bodyPr anchor="t"/>
          <a:lstStyle>
            <a:lvl1pPr marL="0" indent="0" algn="ctr">
              <a:spcBef>
                <a:spcPts val="0"/>
              </a:spcBef>
              <a:buNone/>
              <a:defRPr sz="1099" b="1" spc="-20" baseline="0">
                <a:solidFill>
                  <a:schemeClr val="bg1"/>
                </a:solidFill>
              </a:defRPr>
            </a:lvl1pPr>
            <a:lvl2pPr marL="456755" indent="0">
              <a:buNone/>
              <a:defRPr sz="1199">
                <a:solidFill>
                  <a:schemeClr val="bg1"/>
                </a:solidFill>
              </a:defRPr>
            </a:lvl2pPr>
            <a:lvl3pPr marL="913509" indent="0">
              <a:buNone/>
              <a:defRPr sz="1199">
                <a:solidFill>
                  <a:schemeClr val="bg1"/>
                </a:solidFill>
              </a:defRPr>
            </a:lvl3pPr>
            <a:lvl4pPr marL="1370263" indent="0">
              <a:buNone/>
              <a:defRPr sz="1199">
                <a:solidFill>
                  <a:schemeClr val="bg1"/>
                </a:solidFill>
              </a:defRPr>
            </a:lvl4pPr>
            <a:lvl5pPr marL="1827017" indent="0">
              <a:buNone/>
              <a:defRPr sz="1199">
                <a:solidFill>
                  <a:schemeClr val="bg1"/>
                </a:solidFill>
              </a:defRPr>
            </a:lvl5pPr>
          </a:lstStyle>
          <a:p>
            <a:pPr lvl="0"/>
            <a:r>
              <a:rPr lang="en-US" dirty="0"/>
              <a:t>Click To Edit Master Text Styles</a:t>
            </a:r>
          </a:p>
        </p:txBody>
      </p:sp>
      <p:sp>
        <p:nvSpPr>
          <p:cNvPr id="14" name="Content Placeholder 18"/>
          <p:cNvSpPr>
            <a:spLocks noGrp="1"/>
          </p:cNvSpPr>
          <p:nvPr>
            <p:ph sz="quarter" idx="17" hasCustomPrompt="1"/>
          </p:nvPr>
        </p:nvSpPr>
        <p:spPr>
          <a:xfrm>
            <a:off x="3191339" y="3084053"/>
            <a:ext cx="3108960" cy="1828801"/>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02">
              <a:buFont typeface="Arial"/>
              <a:buChar char="•"/>
              <a:defRPr sz="1598" spc="-50">
                <a:solidFill>
                  <a:srgbClr val="FFFFFF"/>
                </a:solidFill>
                <a:latin typeface="Arial"/>
                <a:cs typeface="Arial"/>
              </a:defRPr>
            </a:lvl2pPr>
            <a:lvl3pPr marL="411080">
              <a:spcBef>
                <a:spcPts val="400"/>
              </a:spcBef>
              <a:defRPr sz="1598" spc="-50">
                <a:solidFill>
                  <a:srgbClr val="FFFFFF"/>
                </a:solidFill>
                <a:latin typeface="Arial"/>
                <a:cs typeface="Arial"/>
              </a:defRPr>
            </a:lvl3pPr>
            <a:lvl4pPr marL="502430" indent="-228377">
              <a:buFont typeface="Arial" panose="020B0604020202020204" pitchFamily="34" charset="0"/>
              <a:buChar char="•"/>
              <a:defRPr lang="en-US" sz="1598" kern="1200" spc="-50" dirty="0" smtClean="0">
                <a:solidFill>
                  <a:srgbClr val="FFFFFF"/>
                </a:solidFill>
                <a:latin typeface="Arial"/>
                <a:ea typeface="+mn-ea"/>
                <a:cs typeface="Arial"/>
              </a:defRPr>
            </a:lvl4pPr>
            <a:lvl5pPr marL="593780" indent="-228377">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Tree>
    <p:extLst>
      <p:ext uri="{BB962C8B-B14F-4D97-AF65-F5344CB8AC3E}">
        <p14:creationId xmlns:p14="http://schemas.microsoft.com/office/powerpoint/2010/main" val="170090543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18" name="Title Placeholder 1"/>
          <p:cNvSpPr>
            <a:spLocks noGrp="1"/>
          </p:cNvSpPr>
          <p:nvPr>
            <p:ph type="title" hasCustomPrompt="1"/>
          </p:nvPr>
        </p:nvSpPr>
        <p:spPr>
          <a:xfrm>
            <a:off x="287872" y="414870"/>
            <a:ext cx="2836333" cy="4258733"/>
          </a:xfrm>
          <a:prstGeom prst="rect">
            <a:avLst/>
          </a:prstGeom>
        </p:spPr>
        <p:txBody>
          <a:bodyPr vert="horz" lIns="91440" tIns="45720" rIns="91440" bIns="45720" rtlCol="0" anchor="ctr">
            <a:noAutofit/>
          </a:bodyPr>
          <a:lstStyle>
            <a:lvl1pPr>
              <a:lnSpc>
                <a:spcPct val="85000"/>
              </a:lnSpc>
              <a:defRPr sz="3996" baseline="0"/>
            </a:lvl1pPr>
          </a:lstStyle>
          <a:p>
            <a:r>
              <a:rPr lang="en-US" dirty="0"/>
              <a:t>Title</a:t>
            </a:r>
          </a:p>
        </p:txBody>
      </p:sp>
      <p:sp>
        <p:nvSpPr>
          <p:cNvPr id="19" name="Text Placeholder 2"/>
          <p:cNvSpPr>
            <a:spLocks noGrp="1"/>
          </p:cNvSpPr>
          <p:nvPr>
            <p:ph type="body" sz="quarter" idx="12" hasCustomPrompt="1"/>
          </p:nvPr>
        </p:nvSpPr>
        <p:spPr>
          <a:xfrm>
            <a:off x="3826937" y="414863"/>
            <a:ext cx="4616435" cy="4250265"/>
          </a:xfrm>
          <a:prstGeom prst="rect">
            <a:avLst/>
          </a:prstGeom>
        </p:spPr>
        <p:txBody>
          <a:bodyPr vert="horz" lIns="0" tIns="0" rIns="0" bIns="0" anchor="ctr"/>
          <a:lstStyle>
            <a:lvl1pPr marL="0" indent="0" algn="l">
              <a:lnSpc>
                <a:spcPts val="3077"/>
              </a:lnSpc>
              <a:spcBef>
                <a:spcPts val="0"/>
              </a:spcBef>
              <a:spcAft>
                <a:spcPts val="1799"/>
              </a:spcAft>
              <a:buClr>
                <a:schemeClr val="accent1"/>
              </a:buClr>
              <a:buNone/>
              <a:defRPr sz="2398" spc="-30" baseline="0">
                <a:solidFill>
                  <a:schemeClr val="tx1"/>
                </a:solidFill>
                <a:latin typeface="Arial"/>
                <a:cs typeface="Arial"/>
              </a:defRPr>
            </a:lvl1pPr>
            <a:lvl2pPr marL="365395" indent="-274046">
              <a:spcBef>
                <a:spcPts val="0"/>
              </a:spcBef>
              <a:spcAft>
                <a:spcPts val="899"/>
              </a:spcAft>
              <a:buClr>
                <a:schemeClr val="accent1"/>
              </a:buClr>
              <a:defRPr sz="1598" spc="-30">
                <a:solidFill>
                  <a:schemeClr val="tx1">
                    <a:lumMod val="85000"/>
                    <a:lumOff val="15000"/>
                  </a:schemeClr>
                </a:solidFill>
                <a:latin typeface="Arial"/>
                <a:cs typeface="Arial"/>
              </a:defRPr>
            </a:lvl2pPr>
            <a:lvl3pPr marL="548093" indent="-182698">
              <a:spcBef>
                <a:spcPts val="0"/>
              </a:spcBef>
              <a:spcAft>
                <a:spcPts val="899"/>
              </a:spcAft>
              <a:buClr>
                <a:schemeClr val="accent1"/>
              </a:buClr>
              <a:defRPr sz="1598" spc="-30">
                <a:solidFill>
                  <a:schemeClr val="tx1">
                    <a:lumMod val="85000"/>
                    <a:lumOff val="15000"/>
                  </a:schemeClr>
                </a:solidFill>
                <a:latin typeface="Arial"/>
                <a:cs typeface="Arial"/>
              </a:defRPr>
            </a:lvl3pPr>
            <a:lvl4pPr marL="91350" indent="182698">
              <a:buClr>
                <a:schemeClr val="accent1"/>
              </a:buClr>
              <a:defRPr sz="1199">
                <a:solidFill>
                  <a:schemeClr val="tx1">
                    <a:lumMod val="75000"/>
                    <a:lumOff val="25000"/>
                  </a:schemeClr>
                </a:solidFill>
                <a:latin typeface="Arial"/>
                <a:cs typeface="Arial"/>
              </a:defRPr>
            </a:lvl4pPr>
            <a:lvl5pPr marL="91350" indent="182698">
              <a:buClr>
                <a:schemeClr val="accent1"/>
              </a:buClr>
              <a:defRPr sz="1199">
                <a:solidFill>
                  <a:schemeClr val="tx1">
                    <a:lumMod val="75000"/>
                    <a:lumOff val="25000"/>
                  </a:schemeClr>
                </a:solidFill>
                <a:latin typeface="Arial"/>
                <a:cs typeface="Arial"/>
              </a:defRPr>
            </a:lvl5pPr>
          </a:lstStyle>
          <a:p>
            <a:pPr lvl="0"/>
            <a:r>
              <a:rPr lang="en-US" dirty="0"/>
              <a:t>Agenda Item 1</a:t>
            </a:r>
          </a:p>
          <a:p>
            <a:pPr lvl="0"/>
            <a:r>
              <a:rPr lang="en-US" dirty="0"/>
              <a:t>Agenda Item 2</a:t>
            </a:r>
          </a:p>
          <a:p>
            <a:pPr lvl="0"/>
            <a:r>
              <a:rPr lang="en-US" dirty="0"/>
              <a:t>Agenda Item 3</a:t>
            </a:r>
          </a:p>
          <a:p>
            <a:pPr lvl="0"/>
            <a:r>
              <a:rPr lang="en-US" dirty="0"/>
              <a:t>Agenda Item 4</a:t>
            </a:r>
          </a:p>
          <a:p>
            <a:pPr lvl="0"/>
            <a:r>
              <a:rPr lang="en-US" dirty="0"/>
              <a:t>Agenda Item 5</a:t>
            </a:r>
          </a:p>
        </p:txBody>
      </p:sp>
      <p:cxnSp>
        <p:nvCxnSpPr>
          <p:cNvPr id="3" name="Straight Connector 2"/>
          <p:cNvCxnSpPr/>
          <p:nvPr/>
        </p:nvCxnSpPr>
        <p:spPr>
          <a:xfrm>
            <a:off x="3420533" y="414869"/>
            <a:ext cx="0" cy="4267201"/>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9007"/>
          <a:stretch/>
        </p:blipFill>
        <p:spPr>
          <a:xfrm>
            <a:off x="8451686" y="3"/>
            <a:ext cx="610101" cy="555665"/>
          </a:xfrm>
          <a:prstGeom prst="rect">
            <a:avLst/>
          </a:prstGeom>
        </p:spPr>
      </p:pic>
    </p:spTree>
    <p:extLst>
      <p:ext uri="{BB962C8B-B14F-4D97-AF65-F5344CB8AC3E}">
        <p14:creationId xmlns:p14="http://schemas.microsoft.com/office/powerpoint/2010/main" val="402854104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1"/>
            <a:ext cx="2011514" cy="1853031"/>
          </a:xfrm>
          <a:prstGeom prst="rect">
            <a:avLst/>
          </a:prstGeom>
        </p:spPr>
      </p:pic>
      <p:sp>
        <p:nvSpPr>
          <p:cNvPr id="21" name="Title 15"/>
          <p:cNvSpPr>
            <a:spLocks noGrp="1"/>
          </p:cNvSpPr>
          <p:nvPr>
            <p:ph type="title" hasCustomPrompt="1"/>
          </p:nvPr>
        </p:nvSpPr>
        <p:spPr>
          <a:xfrm>
            <a:off x="573518"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425107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796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61865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2" y="493879"/>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01807"/>
            <a:ext cx="8540496" cy="276999"/>
          </a:xfrm>
          <a:prstGeom prst="rect">
            <a:avLst/>
          </a:prstGeom>
          <a:ln w="76200" cmpd="sng">
            <a:noFill/>
          </a:ln>
          <a:effectLst/>
        </p:spPr>
        <p:txBody>
          <a:bodyPr vert="horz" wrap="square" lIns="91440" tIns="0" rIns="0" bIns="0" rtlCol="0" anchor="b">
            <a:spAutoFit/>
          </a:bodyPr>
          <a:lstStyle>
            <a:lvl1pPr marL="342892" indent="-342892"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88279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94449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8241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4"/>
            <a:ext cx="8238066"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193750661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01597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2"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2"/>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04831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92879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71554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66083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1"/>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6"/>
            <a:ext cx="5334000" cy="3022810"/>
          </a:xfrm>
          <a:prstGeom prst="rect">
            <a:avLst/>
          </a:prstGeom>
        </p:spPr>
        <p:txBody>
          <a:bodyPr anchor="t"/>
          <a:lstStyle>
            <a:lvl1pPr marL="0" marR="0" indent="0" algn="l" defTabSz="457189" rtl="0" eaLnBrk="1" fontAlgn="auto" latinLnBrk="0" hangingPunct="1">
              <a:lnSpc>
                <a:spcPct val="200000"/>
              </a:lnSpc>
              <a:spcBef>
                <a:spcPts val="0"/>
              </a:spcBef>
              <a:spcAft>
                <a:spcPts val="0"/>
              </a:spcAft>
              <a:buClr>
                <a:schemeClr val="accent3"/>
              </a:buClr>
              <a:buSzTx/>
              <a:buFont typeface="Wingdings" charset="2"/>
              <a:buNone/>
              <a:tabLst/>
              <a:defRPr/>
            </a:lvl1pPr>
            <a:lvl2pPr marL="336034" indent="0">
              <a:buNone/>
              <a:defRPr/>
            </a:lvl2pPr>
            <a:lvl3pPr marL="502907" indent="0">
              <a:buNone/>
              <a:defRPr/>
            </a:lvl3pPr>
            <a:lvl4pPr marL="685783" indent="0">
              <a:buNone/>
              <a:defRPr/>
            </a:lvl4pPr>
            <a:lvl5pPr marL="685783" indent="0">
              <a:buNone/>
              <a:defRPr/>
            </a:lvl5pPr>
          </a:lstStyle>
          <a:p>
            <a:pPr lvl="0"/>
            <a:r>
              <a:rPr lang="en-US" dirty="0"/>
              <a:t>Agenda Line Item 1</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5" y="-8354"/>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4007529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lIns="91376" tIns="45688" rIns="91376" bIns="45688"/>
          <a:lstStyle>
            <a:lvl1pPr>
              <a:lnSpc>
                <a:spcPct val="80000"/>
              </a:lnSpc>
              <a:defRPr sz="4800"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55"/>
            <a:ext cx="8229600" cy="979487"/>
          </a:xfrm>
          <a:prstGeom prst="rect">
            <a:avLst/>
          </a:prstGeom>
        </p:spPr>
        <p:txBody>
          <a:bodyPr vert="horz" lIns="91376" tIns="45688" rIns="91376" bIns="45688"/>
          <a:lstStyle>
            <a:lvl1pPr marL="0" indent="0" algn="ctr">
              <a:buNone/>
              <a:defRPr sz="1800"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19543660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0"/>
            <a:ext cx="2011514" cy="1853031"/>
          </a:xfrm>
          <a:prstGeom prst="rect">
            <a:avLst/>
          </a:prstGeom>
        </p:spPr>
      </p:pic>
      <p:sp>
        <p:nvSpPr>
          <p:cNvPr id="21" name="Title 15"/>
          <p:cNvSpPr>
            <a:spLocks noGrp="1"/>
          </p:cNvSpPr>
          <p:nvPr>
            <p:ph type="title" hasCustomPrompt="1"/>
          </p:nvPr>
        </p:nvSpPr>
        <p:spPr>
          <a:xfrm>
            <a:off x="573517"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200869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802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58655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824344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8238066"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213065643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493878"/>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31951"/>
            <a:ext cx="8540496" cy="246855"/>
          </a:xfrm>
          <a:prstGeom prst="rect">
            <a:avLst/>
          </a:prstGeom>
          <a:ln w="76200" cmpd="sng">
            <a:noFill/>
          </a:ln>
          <a:effectLst/>
        </p:spPr>
        <p:txBody>
          <a:bodyPr vert="horz" wrap="square" lIns="91440" tIns="0" rIns="0" bIns="0" rtlCol="0" anchor="b">
            <a:spAutoFit/>
          </a:bodyPr>
          <a:lstStyle>
            <a:lvl1pPr marL="342900" indent="-342900"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54200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3805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16011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1"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72907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90784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3497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01530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0"/>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5"/>
            <a:ext cx="5334000" cy="3022810"/>
          </a:xfrm>
          <a:prstGeom prst="rect">
            <a:avLst/>
          </a:prstGeom>
        </p:spPr>
        <p:txBody>
          <a:bodyPr anchor="t"/>
          <a:lstStyle>
            <a:lvl1pPr marL="0" marR="0" indent="0" algn="l" defTabSz="457200" rtl="0" eaLnBrk="1" fontAlgn="auto" latinLnBrk="0" hangingPunct="1">
              <a:lnSpc>
                <a:spcPct val="200000"/>
              </a:lnSpc>
              <a:spcBef>
                <a:spcPts val="0"/>
              </a:spcBef>
              <a:spcAft>
                <a:spcPts val="0"/>
              </a:spcAft>
              <a:buClr>
                <a:schemeClr val="accent3"/>
              </a:buClr>
              <a:buSzTx/>
              <a:buFont typeface="Wingdings" charset="2"/>
              <a:buNone/>
              <a:tabLst/>
              <a:defRPr/>
            </a:lvl1pPr>
            <a:lvl2pPr marL="336042" indent="0">
              <a:buNone/>
              <a:defRPr/>
            </a:lvl2pPr>
            <a:lvl3pPr marL="502920" indent="0">
              <a:buNone/>
              <a:defRPr/>
            </a:lvl3pPr>
            <a:lvl4pPr marL="685800" indent="0">
              <a:buNone/>
              <a:defRPr/>
            </a:lvl4pPr>
            <a:lvl5pPr marL="685800" indent="0">
              <a:buNone/>
              <a:defRPr/>
            </a:lvl5pPr>
          </a:lstStyle>
          <a:p>
            <a:pPr lvl="0"/>
            <a:r>
              <a:rPr lang="en-US" dirty="0"/>
              <a:t>Agenda Line Item 1</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6" y="-8355"/>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74261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lIns="91376" tIns="45688" rIns="91376" bIns="45688"/>
          <a:lstStyle>
            <a:lvl1pPr>
              <a:lnSpc>
                <a:spcPct val="80000"/>
              </a:lnSpc>
              <a:defRPr sz="4800"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54"/>
            <a:ext cx="8229600" cy="979487"/>
          </a:xfrm>
          <a:prstGeom prst="rect">
            <a:avLst/>
          </a:prstGeom>
        </p:spPr>
        <p:txBody>
          <a:bodyPr vert="horz" lIns="91376" tIns="45688" rIns="91376" bIns="45688"/>
          <a:lstStyle>
            <a:lvl1pPr marL="0" indent="0" algn="ctr">
              <a:buNone/>
              <a:defRPr sz="1800"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270875440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1"/>
            <a:ext cx="2011514" cy="1853031"/>
          </a:xfrm>
          <a:prstGeom prst="rect">
            <a:avLst/>
          </a:prstGeom>
        </p:spPr>
      </p:pic>
      <p:sp>
        <p:nvSpPr>
          <p:cNvPr id="21" name="Title 15"/>
          <p:cNvSpPr>
            <a:spLocks noGrp="1"/>
          </p:cNvSpPr>
          <p:nvPr>
            <p:ph type="title" hasCustomPrompt="1"/>
          </p:nvPr>
        </p:nvSpPr>
        <p:spPr>
          <a:xfrm>
            <a:off x="573518"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185569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3" name="Text Placeholder 2"/>
          <p:cNvSpPr>
            <a:spLocks noGrp="1"/>
          </p:cNvSpPr>
          <p:nvPr>
            <p:ph type="body" sz="quarter" idx="17"/>
          </p:nvPr>
        </p:nvSpPr>
        <p:spPr>
          <a:xfrm>
            <a:off x="4425292"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4" name="Content Placeholder 18"/>
          <p:cNvSpPr>
            <a:spLocks noGrp="1"/>
          </p:cNvSpPr>
          <p:nvPr>
            <p:ph sz="quarter" idx="18"/>
          </p:nvPr>
        </p:nvSpPr>
        <p:spPr>
          <a:xfrm>
            <a:off x="4428065"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59926606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882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24910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2" y="493879"/>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01807"/>
            <a:ext cx="8540496" cy="276999"/>
          </a:xfrm>
          <a:prstGeom prst="rect">
            <a:avLst/>
          </a:prstGeom>
          <a:ln w="76200" cmpd="sng">
            <a:noFill/>
          </a:ln>
          <a:effectLst/>
        </p:spPr>
        <p:txBody>
          <a:bodyPr vert="horz" wrap="square" lIns="91440" tIns="0" rIns="0" bIns="0" rtlCol="0" anchor="b">
            <a:spAutoFit/>
          </a:bodyPr>
          <a:lstStyle>
            <a:lvl1pPr marL="342892" indent="-342892"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6563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5603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8905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2"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2"/>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90785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724969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07663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15363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1"/>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6"/>
            <a:ext cx="5334000" cy="3022810"/>
          </a:xfrm>
          <a:prstGeom prst="rect">
            <a:avLst/>
          </a:prstGeom>
        </p:spPr>
        <p:txBody>
          <a:bodyPr anchor="t"/>
          <a:lstStyle>
            <a:lvl1pPr marL="0" marR="0" indent="0" algn="l" defTabSz="457189" rtl="0" eaLnBrk="1" fontAlgn="auto" latinLnBrk="0" hangingPunct="1">
              <a:lnSpc>
                <a:spcPct val="200000"/>
              </a:lnSpc>
              <a:spcBef>
                <a:spcPts val="0"/>
              </a:spcBef>
              <a:spcAft>
                <a:spcPts val="0"/>
              </a:spcAft>
              <a:buClr>
                <a:schemeClr val="accent3"/>
              </a:buClr>
              <a:buSzTx/>
              <a:buFont typeface="Wingdings" charset="2"/>
              <a:buNone/>
              <a:tabLst/>
              <a:defRPr/>
            </a:lvl1pPr>
            <a:lvl2pPr marL="336034" indent="0">
              <a:buNone/>
              <a:defRPr/>
            </a:lvl2pPr>
            <a:lvl3pPr marL="502907" indent="0">
              <a:buNone/>
              <a:defRPr/>
            </a:lvl3pPr>
            <a:lvl4pPr marL="685783" indent="0">
              <a:buNone/>
              <a:defRPr/>
            </a:lvl4pPr>
            <a:lvl5pPr marL="685783" indent="0">
              <a:buNone/>
              <a:defRPr/>
            </a:lvl5pPr>
          </a:lstStyle>
          <a:p>
            <a:pPr lvl="0"/>
            <a:r>
              <a:rPr lang="en-US" dirty="0"/>
              <a:t>Agenda Line Item 1</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5" y="-8354"/>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00299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umn + Big Imag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4" name="Content Placeholder 18"/>
          <p:cNvSpPr>
            <a:spLocks noGrp="1"/>
          </p:cNvSpPr>
          <p:nvPr>
            <p:ph sz="quarter" idx="18"/>
          </p:nvPr>
        </p:nvSpPr>
        <p:spPr>
          <a:xfrm>
            <a:off x="4428065" y="1490133"/>
            <a:ext cx="4326468"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17843370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1"/>
            <a:ext cx="2011514" cy="1853031"/>
          </a:xfrm>
          <a:prstGeom prst="rect">
            <a:avLst/>
          </a:prstGeom>
        </p:spPr>
      </p:pic>
      <p:sp>
        <p:nvSpPr>
          <p:cNvPr id="21" name="Title 15"/>
          <p:cNvSpPr>
            <a:spLocks noGrp="1"/>
          </p:cNvSpPr>
          <p:nvPr>
            <p:ph type="title" hasCustomPrompt="1"/>
          </p:nvPr>
        </p:nvSpPr>
        <p:spPr>
          <a:xfrm>
            <a:off x="573518"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329172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086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01912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2" y="493879"/>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01807"/>
            <a:ext cx="8540496" cy="276999"/>
          </a:xfrm>
          <a:prstGeom prst="rect">
            <a:avLst/>
          </a:prstGeom>
          <a:ln w="76200" cmpd="sng">
            <a:noFill/>
          </a:ln>
          <a:effectLst/>
        </p:spPr>
        <p:txBody>
          <a:bodyPr vert="horz" wrap="square" lIns="91440" tIns="0" rIns="0" bIns="0" rtlCol="0" anchor="b">
            <a:spAutoFit/>
          </a:bodyPr>
          <a:lstStyle>
            <a:lvl1pPr marL="342892" indent="-342892"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65556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68358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53251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2"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2"/>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28108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37232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51621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72971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08388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1"/>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6"/>
            <a:ext cx="5334000" cy="3022810"/>
          </a:xfrm>
          <a:prstGeom prst="rect">
            <a:avLst/>
          </a:prstGeom>
        </p:spPr>
        <p:txBody>
          <a:bodyPr anchor="t"/>
          <a:lstStyle>
            <a:lvl1pPr marL="0" marR="0" indent="0" algn="l" defTabSz="457189" rtl="0" eaLnBrk="1" fontAlgn="auto" latinLnBrk="0" hangingPunct="1">
              <a:lnSpc>
                <a:spcPct val="200000"/>
              </a:lnSpc>
              <a:spcBef>
                <a:spcPts val="0"/>
              </a:spcBef>
              <a:spcAft>
                <a:spcPts val="0"/>
              </a:spcAft>
              <a:buClr>
                <a:schemeClr val="accent3"/>
              </a:buClr>
              <a:buSzTx/>
              <a:buFont typeface="Wingdings" charset="2"/>
              <a:buNone/>
              <a:tabLst/>
              <a:defRPr/>
            </a:lvl1pPr>
            <a:lvl2pPr marL="336034" indent="0">
              <a:buNone/>
              <a:defRPr/>
            </a:lvl2pPr>
            <a:lvl3pPr marL="502907" indent="0">
              <a:buNone/>
              <a:defRPr/>
            </a:lvl3pPr>
            <a:lvl4pPr marL="685783" indent="0">
              <a:buNone/>
              <a:defRPr/>
            </a:lvl4pPr>
            <a:lvl5pPr marL="685783" indent="0">
              <a:buNone/>
              <a:defRPr/>
            </a:lvl5pPr>
          </a:lstStyle>
          <a:p>
            <a:pPr lvl="0"/>
            <a:r>
              <a:rPr lang="en-US" dirty="0"/>
              <a:t>Agenda Line Item 1</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5" y="-8354"/>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9200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White">
    <p:spTree>
      <p:nvGrpSpPr>
        <p:cNvPr id="1" name=""/>
        <p:cNvGrpSpPr/>
        <p:nvPr/>
      </p:nvGrpSpPr>
      <p:grpSpPr>
        <a:xfrm>
          <a:off x="0" y="0"/>
          <a:ext cx="0" cy="0"/>
          <a:chOff x="0" y="0"/>
          <a:chExt cx="0" cy="0"/>
        </a:xfrm>
      </p:grpSpPr>
      <p:sp>
        <p:nvSpPr>
          <p:cNvPr id="6" name="Rectangle 5"/>
          <p:cNvSpPr/>
          <p:nvPr/>
        </p:nvSpPr>
        <p:spPr>
          <a:xfrm>
            <a:off x="0" y="1364184"/>
            <a:ext cx="9144000" cy="3590876"/>
          </a:xfrm>
          <a:prstGeom prst="rect">
            <a:avLst/>
          </a:prstGeom>
          <a:solidFill>
            <a:schemeClr val="bg1">
              <a:lumMod val="75000"/>
              <a:alpha val="85000"/>
            </a:schemeClr>
          </a:solidFill>
          <a:ln>
            <a:noFill/>
            <a:tailEnd type="triangle" w="lg" len="lg"/>
          </a:ln>
          <a:effectLst/>
        </p:spPr>
        <p:style>
          <a:lnRef idx="2">
            <a:schemeClr val="accent1"/>
          </a:lnRef>
          <a:fillRef idx="0">
            <a:schemeClr val="accent1"/>
          </a:fillRef>
          <a:effectRef idx="1">
            <a:schemeClr val="accent1"/>
          </a:effectRef>
          <a:fontRef idx="minor">
            <a:schemeClr val="tx1"/>
          </a:fontRef>
        </p:style>
        <p:txBody>
          <a:bodyPr lIns="68580" tIns="34290" rIns="68580" bIns="34290" rtlCol="0" anchor="ctr"/>
          <a:lstStyle/>
          <a:p>
            <a:pPr algn="ctr"/>
            <a:endParaRPr lang="en-US" dirty="0">
              <a:solidFill>
                <a:srgbClr val="000000"/>
              </a:solidFill>
            </a:endParaRPr>
          </a:p>
        </p:txBody>
      </p:sp>
      <p:sp>
        <p:nvSpPr>
          <p:cNvPr id="15" name="Title Placeholder 1"/>
          <p:cNvSpPr>
            <a:spLocks noGrp="1"/>
          </p:cNvSpPr>
          <p:nvPr>
            <p:ph type="title" hasCustomPrompt="1"/>
          </p:nvPr>
        </p:nvSpPr>
        <p:spPr>
          <a:xfrm>
            <a:off x="210678" y="139395"/>
            <a:ext cx="8198098" cy="742387"/>
          </a:xfrm>
          <a:prstGeom prst="rect">
            <a:avLst/>
          </a:prstGeom>
        </p:spPr>
        <p:txBody>
          <a:bodyPr vert="horz" lIns="68580" tIns="34290" rIns="68580" bIns="34290" rtlCol="0" anchor="t">
            <a:noAutofit/>
          </a:bodyPr>
          <a:lstStyle>
            <a:lvl1pPr>
              <a:lnSpc>
                <a:spcPct val="80000"/>
              </a:lnSpc>
              <a:defRPr sz="3600" baseline="0"/>
            </a:lvl1pPr>
          </a:lstStyle>
          <a:p>
            <a:r>
              <a:rPr lang="en-US" dirty="0"/>
              <a:t>The quick brown fox jumps over a lazy dog</a:t>
            </a:r>
          </a:p>
        </p:txBody>
      </p:sp>
      <p:sp>
        <p:nvSpPr>
          <p:cNvPr id="10" name="Text Placeholder 2"/>
          <p:cNvSpPr>
            <a:spLocks noGrp="1"/>
          </p:cNvSpPr>
          <p:nvPr>
            <p:ph type="body" sz="quarter" idx="12" hasCustomPrompt="1"/>
          </p:nvPr>
        </p:nvSpPr>
        <p:spPr>
          <a:xfrm>
            <a:off x="6302559" y="1467296"/>
            <a:ext cx="2668448" cy="3376554"/>
          </a:xfrm>
          <a:prstGeom prst="rect">
            <a:avLst/>
          </a:prstGeom>
        </p:spPr>
        <p:txBody>
          <a:bodyPr vert="horz" lIns="68580" tIns="34290" rIns="68580" bIns="34290"/>
          <a:lstStyle>
            <a:lvl1pPr marL="0" indent="0">
              <a:spcBef>
                <a:spcPts val="0"/>
              </a:spcBef>
              <a:spcAft>
                <a:spcPts val="900"/>
              </a:spcAft>
              <a:buClr>
                <a:schemeClr val="accent1"/>
              </a:buClr>
              <a:buNone/>
              <a:defRPr sz="1400" spc="-30">
                <a:solidFill>
                  <a:schemeClr val="tx1">
                    <a:lumMod val="85000"/>
                    <a:lumOff val="15000"/>
                  </a:schemeClr>
                </a:solidFill>
                <a:latin typeface="Arial"/>
                <a:cs typeface="Arial"/>
              </a:defRPr>
            </a:lvl1pPr>
            <a:lvl2pPr marL="365751" indent="-274313">
              <a:spcBef>
                <a:spcPts val="0"/>
              </a:spcBef>
              <a:spcAft>
                <a:spcPts val="900"/>
              </a:spcAft>
              <a:buClr>
                <a:schemeClr val="accent1"/>
              </a:buClr>
              <a:defRPr sz="1600" spc="-30">
                <a:solidFill>
                  <a:schemeClr val="tx1">
                    <a:lumMod val="85000"/>
                    <a:lumOff val="15000"/>
                  </a:schemeClr>
                </a:solidFill>
                <a:latin typeface="Arial"/>
                <a:cs typeface="Arial"/>
              </a:defRPr>
            </a:lvl2pPr>
            <a:lvl3pPr marL="548627" indent="-182876">
              <a:spcBef>
                <a:spcPts val="0"/>
              </a:spcBef>
              <a:spcAft>
                <a:spcPts val="900"/>
              </a:spcAft>
              <a:buClr>
                <a:schemeClr val="accent1"/>
              </a:buClr>
              <a:defRPr sz="1600" spc="-30">
                <a:solidFill>
                  <a:schemeClr val="tx1">
                    <a:lumMod val="85000"/>
                    <a:lumOff val="15000"/>
                  </a:schemeClr>
                </a:solidFill>
                <a:latin typeface="Arial"/>
                <a:cs typeface="Arial"/>
              </a:defRPr>
            </a:lvl3pPr>
            <a:lvl4pPr marL="91438" indent="182876">
              <a:buClr>
                <a:schemeClr val="accent1"/>
              </a:buClr>
              <a:defRPr sz="1200">
                <a:solidFill>
                  <a:schemeClr val="tx1">
                    <a:lumMod val="75000"/>
                    <a:lumOff val="25000"/>
                  </a:schemeClr>
                </a:solidFill>
                <a:latin typeface="Arial"/>
                <a:cs typeface="Arial"/>
              </a:defRPr>
            </a:lvl4pPr>
            <a:lvl5pPr marL="91438" indent="182876">
              <a:buClr>
                <a:schemeClr val="accent1"/>
              </a:buClr>
              <a:defRPr sz="1200">
                <a:solidFill>
                  <a:schemeClr val="tx1">
                    <a:lumMod val="75000"/>
                    <a:lumOff val="25000"/>
                  </a:schemeClr>
                </a:solidFill>
                <a:latin typeface="Arial"/>
                <a:cs typeface="Arial"/>
              </a:defRPr>
            </a:lvl5pPr>
          </a:lstStyle>
          <a:p>
            <a:pPr lvl="0"/>
            <a:r>
              <a:rPr lang="en-US" dirty="0"/>
              <a:t>The quick brown fox jumps over a lazy dog.</a:t>
            </a:r>
          </a:p>
        </p:txBody>
      </p:sp>
      <p:sp>
        <p:nvSpPr>
          <p:cNvPr id="3" name="Content Placeholder 2"/>
          <p:cNvSpPr>
            <a:spLocks noGrp="1"/>
          </p:cNvSpPr>
          <p:nvPr>
            <p:ph sz="quarter" idx="13" hasCustomPrompt="1"/>
          </p:nvPr>
        </p:nvSpPr>
        <p:spPr>
          <a:xfrm>
            <a:off x="210678" y="1361510"/>
            <a:ext cx="5881204" cy="3593549"/>
          </a:xfrm>
          <a:prstGeom prst="rect">
            <a:avLst/>
          </a:prstGeom>
        </p:spPr>
        <p:txBody>
          <a:bodyPr lIns="68580" tIns="34290" rIns="68580" bIns="34290"/>
          <a:lstStyle>
            <a:lvl1pPr marL="0" indent="0">
              <a:buNone/>
              <a:defRPr sz="1800" baseline="0"/>
            </a:lvl1pPr>
          </a:lstStyle>
          <a:p>
            <a:pPr lvl="0"/>
            <a:r>
              <a:rPr lang="en-US" dirty="0"/>
              <a:t>Insert Data Here (Chart, Screenshot, Table)</a:t>
            </a:r>
          </a:p>
        </p:txBody>
      </p:sp>
      <p:sp>
        <p:nvSpPr>
          <p:cNvPr id="9" name="Text Placeholder 8"/>
          <p:cNvSpPr>
            <a:spLocks noGrp="1"/>
          </p:cNvSpPr>
          <p:nvPr>
            <p:ph type="body" sz="quarter" idx="14" hasCustomPrompt="1"/>
          </p:nvPr>
        </p:nvSpPr>
        <p:spPr>
          <a:xfrm>
            <a:off x="211182" y="992991"/>
            <a:ext cx="8759825" cy="307975"/>
          </a:xfrm>
          <a:prstGeom prst="rect">
            <a:avLst/>
          </a:prstGeom>
        </p:spPr>
        <p:txBody>
          <a:bodyPr lIns="68580" tIns="34290" rIns="68580" bIns="34290"/>
          <a:lstStyle>
            <a:lvl1pPr marL="0" indent="0">
              <a:buNone/>
              <a:defRPr sz="1600" baseline="0"/>
            </a:lvl1pPr>
          </a:lstStyle>
          <a:p>
            <a:pPr lvl="0"/>
            <a:r>
              <a:rPr lang="en-US" dirty="0"/>
              <a:t>The quick brown fox jumps over a lazy dog.</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4807815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6616" y="1591057"/>
            <a:ext cx="4215384" cy="1102519"/>
          </a:xfrm>
        </p:spPr>
        <p:txBody>
          <a:bodyPr anchor="b" anchorCtr="0">
            <a:noAutofit/>
          </a:bodyPr>
          <a:lstStyle>
            <a:lvl1pPr>
              <a:defRPr sz="2100" b="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356616" y="2660904"/>
            <a:ext cx="4577334" cy="1801368"/>
          </a:xfrm>
        </p:spPr>
        <p:txBody>
          <a:bodyPr>
            <a:noAutofit/>
          </a:bodyPr>
          <a:lstStyle>
            <a:lvl1pPr marL="0" indent="0" algn="l">
              <a:lnSpc>
                <a:spcPct val="90000"/>
              </a:lnSpc>
              <a:spcBef>
                <a:spcPts val="0"/>
              </a:spcBef>
              <a:spcAft>
                <a:spcPts val="0"/>
              </a:spcAft>
              <a:buNone/>
              <a:defRPr sz="15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5" name="Footer Placeholder 4"/>
          <p:cNvSpPr>
            <a:spLocks noGrp="1"/>
          </p:cNvSpPr>
          <p:nvPr>
            <p:ph type="ftr" sz="quarter" idx="11"/>
          </p:nvPr>
        </p:nvSpPr>
        <p:spPr/>
        <p:txBody>
          <a:bodyPr/>
          <a:lstStyle/>
          <a:p>
            <a:endParaRPr lang="en-US">
              <a:solidFill>
                <a:srgbClr val="B4B4B4"/>
              </a:solidFill>
            </a:endParaRPr>
          </a:p>
        </p:txBody>
      </p:sp>
      <p:sp>
        <p:nvSpPr>
          <p:cNvPr id="6" name="Slide Number Placeholder 5"/>
          <p:cNvSpPr>
            <a:spLocks noGrp="1"/>
          </p:cNvSpPr>
          <p:nvPr>
            <p:ph type="sldNum" sz="quarter" idx="12"/>
          </p:nvPr>
        </p:nvSpPr>
        <p:spPr/>
        <p:txBody>
          <a:bodyPr/>
          <a:lstStyle/>
          <a:p>
            <a:fld id="{52BB5B38-2141-4D75-B405-23F83BDD5945}" type="slidenum">
              <a:rPr lang="en-US" smtClean="0">
                <a:solidFill>
                  <a:srgbClr val="B4B4B4"/>
                </a:solidFill>
              </a:rPr>
              <a:pPr/>
              <a:t>‹#›</a:t>
            </a:fld>
            <a:endParaRPr lang="en-US">
              <a:solidFill>
                <a:srgbClr val="B4B4B4"/>
              </a:solidFill>
            </a:endParaRPr>
          </a:p>
        </p:txBody>
      </p:sp>
    </p:spTree>
    <p:extLst>
      <p:ext uri="{BB962C8B-B14F-4D97-AF65-F5344CB8AC3E}">
        <p14:creationId xmlns:p14="http://schemas.microsoft.com/office/powerpoint/2010/main" val="193383891"/>
      </p:ext>
    </p:extLst>
  </p:cSld>
  <p:clrMapOvr>
    <a:masterClrMapping/>
  </p:clrMapOvr>
  <p:transition xmlns:p14="http://schemas.microsoft.com/office/powerpoint/2010/mai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05740"/>
            <a:ext cx="8555038" cy="569214"/>
          </a:xfrm>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hasCustomPrompt="1"/>
          </p:nvPr>
        </p:nvSpPr>
        <p:spPr>
          <a:xfrm>
            <a:off x="228600" y="966978"/>
            <a:ext cx="8555038" cy="3228340"/>
          </a:xfrm>
        </p:spPr>
        <p:txBody>
          <a:bodyPr/>
          <a:lstStyle>
            <a:lvl1pPr marL="0" indent="0">
              <a:defRPr>
                <a:solidFill>
                  <a:schemeClr val="bg1"/>
                </a:solidFill>
              </a:defRPr>
            </a:lvl1pPr>
            <a:lvl2pPr marL="214313" indent="-88106">
              <a:defRPr>
                <a:solidFill>
                  <a:schemeClr val="bg1"/>
                </a:solidFill>
              </a:defRPr>
            </a:lvl2pPr>
            <a:lvl3pPr marL="345281" indent="-86916">
              <a:defRPr>
                <a:solidFill>
                  <a:schemeClr val="bg1"/>
                </a:solidFill>
              </a:defRPr>
            </a:lvl3pPr>
            <a:lvl4pPr marL="471488" indent="-86916">
              <a:defRPr>
                <a:solidFill>
                  <a:schemeClr val="bg1"/>
                </a:solidFill>
              </a:defRPr>
            </a:lvl4pPr>
            <a:lvl5pPr marL="597694" indent="-82154">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solidFill>
                <a:srgbClr val="B4B4B4"/>
              </a:solidFill>
            </a:endParaRPr>
          </a:p>
        </p:txBody>
      </p:sp>
      <p:sp>
        <p:nvSpPr>
          <p:cNvPr id="6" name="Slide Number Placeholder 5"/>
          <p:cNvSpPr>
            <a:spLocks noGrp="1"/>
          </p:cNvSpPr>
          <p:nvPr>
            <p:ph type="sldNum" sz="quarter" idx="12"/>
          </p:nvPr>
        </p:nvSpPr>
        <p:spPr/>
        <p:txBody>
          <a:bodyPr/>
          <a:lstStyle/>
          <a:p>
            <a:fld id="{52BB5B38-2141-4D75-B405-23F83BDD5945}" type="slidenum">
              <a:rPr lang="en-US" smtClean="0">
                <a:solidFill>
                  <a:srgbClr val="B4B4B4"/>
                </a:solidFill>
              </a:rPr>
              <a:pPr/>
              <a:t>‹#›</a:t>
            </a:fld>
            <a:endParaRPr lang="en-US">
              <a:solidFill>
                <a:srgbClr val="B4B4B4"/>
              </a:solidFill>
            </a:endParaRPr>
          </a:p>
        </p:txBody>
      </p:sp>
      <p:sp>
        <p:nvSpPr>
          <p:cNvPr id="9" name="Text Placeholder 8"/>
          <p:cNvSpPr>
            <a:spLocks noGrp="1"/>
          </p:cNvSpPr>
          <p:nvPr>
            <p:ph type="body" sz="quarter" idx="13" hasCustomPrompt="1"/>
          </p:nvPr>
        </p:nvSpPr>
        <p:spPr>
          <a:xfrm>
            <a:off x="228600" y="511360"/>
            <a:ext cx="8555038" cy="475906"/>
          </a:xfrm>
        </p:spPr>
        <p:txBody>
          <a:bodyPr anchor="ctr" anchorCtr="0">
            <a:noAutofit/>
          </a:bodyPr>
          <a:lstStyle>
            <a:lvl1pPr>
              <a:lnSpc>
                <a:spcPct val="80000"/>
              </a:lnSpc>
              <a:spcBef>
                <a:spcPts val="0"/>
              </a:spcBef>
              <a:spcAft>
                <a:spcPts val="0"/>
              </a:spcAft>
              <a:defRPr sz="1350" b="0">
                <a:solidFill>
                  <a:schemeClr val="bg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611300876"/>
      </p:ext>
    </p:extLst>
  </p:cSld>
  <p:clrMapOvr>
    <a:masterClrMapping/>
  </p:clrMapOvr>
  <p:transition xmlns:p14="http://schemas.microsoft.com/office/powerpoint/2010/mai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05740"/>
            <a:ext cx="8555038" cy="569214"/>
          </a:xfrm>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hasCustomPrompt="1"/>
          </p:nvPr>
        </p:nvSpPr>
        <p:spPr>
          <a:xfrm>
            <a:off x="228600" y="966978"/>
            <a:ext cx="8555038" cy="3707416"/>
          </a:xfrm>
        </p:spPr>
        <p:txBody>
          <a:bodyPr/>
          <a:lstStyle>
            <a:lvl1pPr marL="0" indent="0">
              <a:defRPr>
                <a:solidFill>
                  <a:schemeClr val="bg1"/>
                </a:solidFill>
              </a:defRPr>
            </a:lvl1pPr>
            <a:lvl2pPr marL="214313" indent="-88106">
              <a:defRPr>
                <a:solidFill>
                  <a:schemeClr val="bg1"/>
                </a:solidFill>
              </a:defRPr>
            </a:lvl2pPr>
            <a:lvl3pPr marL="345281" indent="-86916">
              <a:defRPr>
                <a:solidFill>
                  <a:schemeClr val="bg1"/>
                </a:solidFill>
              </a:defRPr>
            </a:lvl3pPr>
            <a:lvl4pPr marL="471488" indent="-86916">
              <a:defRPr>
                <a:solidFill>
                  <a:schemeClr val="bg1"/>
                </a:solidFill>
              </a:defRPr>
            </a:lvl4pPr>
            <a:lvl5pPr marL="597694" indent="-82154">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124200" y="4895126"/>
            <a:ext cx="2895600" cy="281812"/>
          </a:xfrm>
        </p:spPr>
        <p:txBody>
          <a:bodyPr/>
          <a:lstStyle/>
          <a:p>
            <a:endParaRPr lang="en-US" dirty="0">
              <a:solidFill>
                <a:srgbClr val="B4B4B4"/>
              </a:solidFill>
            </a:endParaRPr>
          </a:p>
        </p:txBody>
      </p:sp>
      <p:sp>
        <p:nvSpPr>
          <p:cNvPr id="6" name="Slide Number Placeholder 5"/>
          <p:cNvSpPr>
            <a:spLocks noGrp="1"/>
          </p:cNvSpPr>
          <p:nvPr>
            <p:ph type="sldNum" sz="quarter" idx="12"/>
          </p:nvPr>
        </p:nvSpPr>
        <p:spPr>
          <a:xfrm>
            <a:off x="8319186" y="4895126"/>
            <a:ext cx="800100" cy="281812"/>
          </a:xfrm>
        </p:spPr>
        <p:txBody>
          <a:bodyPr/>
          <a:lstStyle/>
          <a:p>
            <a:fld id="{52BB5B38-2141-4D75-B405-23F83BDD5945}" type="slidenum">
              <a:rPr lang="en-US" smtClean="0">
                <a:solidFill>
                  <a:srgbClr val="B4B4B4"/>
                </a:solidFill>
              </a:rPr>
              <a:pPr/>
              <a:t>‹#›</a:t>
            </a:fld>
            <a:endParaRPr lang="en-US" dirty="0">
              <a:solidFill>
                <a:srgbClr val="B4B4B4"/>
              </a:solidFill>
            </a:endParaRPr>
          </a:p>
        </p:txBody>
      </p:sp>
      <p:grpSp>
        <p:nvGrpSpPr>
          <p:cNvPr id="16" name="Group 7"/>
          <p:cNvGrpSpPr>
            <a:grpSpLocks noChangeAspect="1"/>
          </p:cNvGrpSpPr>
          <p:nvPr userDrawn="1"/>
        </p:nvGrpSpPr>
        <p:grpSpPr>
          <a:xfrm>
            <a:off x="336180" y="4872435"/>
            <a:ext cx="689616" cy="194526"/>
            <a:chOff x="4910138" y="2455863"/>
            <a:chExt cx="3228975" cy="1214437"/>
          </a:xfrm>
          <a:solidFill>
            <a:schemeClr val="tx1"/>
          </a:solidFill>
        </p:grpSpPr>
        <p:sp>
          <p:nvSpPr>
            <p:cNvPr id="17" name="Freeform 16"/>
            <p:cNvSpPr>
              <a:spLocks/>
            </p:cNvSpPr>
            <p:nvPr/>
          </p:nvSpPr>
          <p:spPr bwMode="auto">
            <a:xfrm>
              <a:off x="5408613" y="3094038"/>
              <a:ext cx="492125" cy="566737"/>
            </a:xfrm>
            <a:custGeom>
              <a:avLst/>
              <a:gdLst/>
              <a:ahLst/>
              <a:cxnLst>
                <a:cxn ang="0">
                  <a:pos x="243" y="274"/>
                </a:cxn>
                <a:cxn ang="0">
                  <a:pos x="238" y="280"/>
                </a:cxn>
                <a:cxn ang="0">
                  <a:pos x="174" y="280"/>
                </a:cxn>
                <a:cxn ang="0">
                  <a:pos x="166" y="276"/>
                </a:cxn>
                <a:cxn ang="0">
                  <a:pos x="81" y="162"/>
                </a:cxn>
                <a:cxn ang="0">
                  <a:pos x="63" y="162"/>
                </a:cxn>
                <a:cxn ang="0">
                  <a:pos x="63" y="274"/>
                </a:cxn>
                <a:cxn ang="0">
                  <a:pos x="57" y="280"/>
                </a:cxn>
                <a:cxn ang="0">
                  <a:pos x="6" y="280"/>
                </a:cxn>
                <a:cxn ang="0">
                  <a:pos x="0" y="274"/>
                </a:cxn>
                <a:cxn ang="0">
                  <a:pos x="0" y="5"/>
                </a:cxn>
                <a:cxn ang="0">
                  <a:pos x="6" y="0"/>
                </a:cxn>
                <a:cxn ang="0">
                  <a:pos x="57" y="0"/>
                </a:cxn>
                <a:cxn ang="0">
                  <a:pos x="63" y="5"/>
                </a:cxn>
                <a:cxn ang="0">
                  <a:pos x="63" y="116"/>
                </a:cxn>
                <a:cxn ang="0">
                  <a:pos x="81" y="116"/>
                </a:cxn>
                <a:cxn ang="0">
                  <a:pos x="163" y="3"/>
                </a:cxn>
                <a:cxn ang="0">
                  <a:pos x="169" y="0"/>
                </a:cxn>
                <a:cxn ang="0">
                  <a:pos x="170" y="0"/>
                </a:cxn>
                <a:cxn ang="0">
                  <a:pos x="230" y="0"/>
                </a:cxn>
                <a:cxn ang="0">
                  <a:pos x="235" y="6"/>
                </a:cxn>
                <a:cxn ang="0">
                  <a:pos x="234" y="9"/>
                </a:cxn>
                <a:cxn ang="0">
                  <a:pos x="134" y="137"/>
                </a:cxn>
                <a:cxn ang="0">
                  <a:pos x="242" y="271"/>
                </a:cxn>
                <a:cxn ang="0">
                  <a:pos x="243" y="274"/>
                </a:cxn>
              </a:cxnLst>
              <a:rect l="0" t="0" r="r" b="b"/>
              <a:pathLst>
                <a:path w="243" h="280">
                  <a:moveTo>
                    <a:pt x="243" y="274"/>
                  </a:moveTo>
                  <a:cubicBezTo>
                    <a:pt x="243" y="277"/>
                    <a:pt x="240" y="280"/>
                    <a:pt x="238" y="280"/>
                  </a:cubicBezTo>
                  <a:cubicBezTo>
                    <a:pt x="174" y="280"/>
                    <a:pt x="174" y="280"/>
                    <a:pt x="174" y="280"/>
                  </a:cubicBezTo>
                  <a:cubicBezTo>
                    <a:pt x="170" y="280"/>
                    <a:pt x="167" y="278"/>
                    <a:pt x="166" y="276"/>
                  </a:cubicBezTo>
                  <a:cubicBezTo>
                    <a:pt x="81" y="162"/>
                    <a:pt x="81" y="162"/>
                    <a:pt x="81" y="162"/>
                  </a:cubicBezTo>
                  <a:cubicBezTo>
                    <a:pt x="63" y="162"/>
                    <a:pt x="63" y="162"/>
                    <a:pt x="63" y="162"/>
                  </a:cubicBezTo>
                  <a:cubicBezTo>
                    <a:pt x="63" y="274"/>
                    <a:pt x="63" y="274"/>
                    <a:pt x="63" y="274"/>
                  </a:cubicBezTo>
                  <a:cubicBezTo>
                    <a:pt x="63" y="278"/>
                    <a:pt x="60" y="280"/>
                    <a:pt x="57" y="280"/>
                  </a:cubicBezTo>
                  <a:cubicBezTo>
                    <a:pt x="6" y="280"/>
                    <a:pt x="6" y="280"/>
                    <a:pt x="6" y="280"/>
                  </a:cubicBezTo>
                  <a:cubicBezTo>
                    <a:pt x="3" y="280"/>
                    <a:pt x="0" y="278"/>
                    <a:pt x="0" y="274"/>
                  </a:cubicBezTo>
                  <a:cubicBezTo>
                    <a:pt x="0" y="5"/>
                    <a:pt x="0" y="5"/>
                    <a:pt x="0" y="5"/>
                  </a:cubicBezTo>
                  <a:cubicBezTo>
                    <a:pt x="0" y="2"/>
                    <a:pt x="3" y="0"/>
                    <a:pt x="6" y="0"/>
                  </a:cubicBezTo>
                  <a:cubicBezTo>
                    <a:pt x="57" y="0"/>
                    <a:pt x="57" y="0"/>
                    <a:pt x="57" y="0"/>
                  </a:cubicBezTo>
                  <a:cubicBezTo>
                    <a:pt x="60" y="0"/>
                    <a:pt x="63" y="2"/>
                    <a:pt x="63" y="5"/>
                  </a:cubicBezTo>
                  <a:cubicBezTo>
                    <a:pt x="63" y="116"/>
                    <a:pt x="63" y="116"/>
                    <a:pt x="63" y="116"/>
                  </a:cubicBezTo>
                  <a:cubicBezTo>
                    <a:pt x="81" y="116"/>
                    <a:pt x="81" y="116"/>
                    <a:pt x="81" y="116"/>
                  </a:cubicBezTo>
                  <a:cubicBezTo>
                    <a:pt x="163" y="3"/>
                    <a:pt x="163" y="3"/>
                    <a:pt x="163" y="3"/>
                  </a:cubicBezTo>
                  <a:cubicBezTo>
                    <a:pt x="165" y="1"/>
                    <a:pt x="166" y="0"/>
                    <a:pt x="169" y="0"/>
                  </a:cubicBezTo>
                  <a:cubicBezTo>
                    <a:pt x="170" y="0"/>
                    <a:pt x="170" y="0"/>
                    <a:pt x="170" y="0"/>
                  </a:cubicBezTo>
                  <a:cubicBezTo>
                    <a:pt x="230" y="0"/>
                    <a:pt x="230" y="0"/>
                    <a:pt x="230" y="0"/>
                  </a:cubicBezTo>
                  <a:cubicBezTo>
                    <a:pt x="232" y="0"/>
                    <a:pt x="235" y="3"/>
                    <a:pt x="235" y="6"/>
                  </a:cubicBezTo>
                  <a:cubicBezTo>
                    <a:pt x="235" y="7"/>
                    <a:pt x="234" y="8"/>
                    <a:pt x="234" y="9"/>
                  </a:cubicBezTo>
                  <a:cubicBezTo>
                    <a:pt x="134" y="137"/>
                    <a:pt x="134" y="137"/>
                    <a:pt x="134" y="137"/>
                  </a:cubicBezTo>
                  <a:cubicBezTo>
                    <a:pt x="242" y="271"/>
                    <a:pt x="242" y="271"/>
                    <a:pt x="242" y="271"/>
                  </a:cubicBezTo>
                  <a:cubicBezTo>
                    <a:pt x="242" y="272"/>
                    <a:pt x="243" y="273"/>
                    <a:pt x="243"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8" name="Freeform 17"/>
            <p:cNvSpPr>
              <a:spLocks noEditPoints="1"/>
            </p:cNvSpPr>
            <p:nvPr/>
          </p:nvSpPr>
          <p:spPr bwMode="auto">
            <a:xfrm>
              <a:off x="5903913" y="3248025"/>
              <a:ext cx="390525" cy="422275"/>
            </a:xfrm>
            <a:custGeom>
              <a:avLst/>
              <a:gdLst/>
              <a:ahLst/>
              <a:cxnLst>
                <a:cxn ang="0">
                  <a:pos x="97" y="209"/>
                </a:cxn>
                <a:cxn ang="0">
                  <a:pos x="0" y="104"/>
                </a:cxn>
                <a:cxn ang="0">
                  <a:pos x="97" y="0"/>
                </a:cxn>
                <a:cxn ang="0">
                  <a:pos x="193" y="104"/>
                </a:cxn>
                <a:cxn ang="0">
                  <a:pos x="97" y="209"/>
                </a:cxn>
                <a:cxn ang="0">
                  <a:pos x="97" y="39"/>
                </a:cxn>
                <a:cxn ang="0">
                  <a:pos x="60" y="104"/>
                </a:cxn>
                <a:cxn ang="0">
                  <a:pos x="97" y="169"/>
                </a:cxn>
                <a:cxn ang="0">
                  <a:pos x="133" y="104"/>
                </a:cxn>
                <a:cxn ang="0">
                  <a:pos x="97" y="39"/>
                </a:cxn>
              </a:cxnLst>
              <a:rect l="0" t="0" r="r" b="b"/>
              <a:pathLst>
                <a:path w="193" h="209">
                  <a:moveTo>
                    <a:pt x="97" y="209"/>
                  </a:moveTo>
                  <a:cubicBezTo>
                    <a:pt x="11" y="209"/>
                    <a:pt x="0" y="163"/>
                    <a:pt x="0" y="104"/>
                  </a:cubicBezTo>
                  <a:cubicBezTo>
                    <a:pt x="0" y="46"/>
                    <a:pt x="11" y="0"/>
                    <a:pt x="97" y="0"/>
                  </a:cubicBezTo>
                  <a:cubicBezTo>
                    <a:pt x="182" y="0"/>
                    <a:pt x="193" y="46"/>
                    <a:pt x="193" y="104"/>
                  </a:cubicBezTo>
                  <a:cubicBezTo>
                    <a:pt x="193" y="163"/>
                    <a:pt x="182" y="209"/>
                    <a:pt x="97" y="209"/>
                  </a:cubicBezTo>
                  <a:close/>
                  <a:moveTo>
                    <a:pt x="97" y="39"/>
                  </a:moveTo>
                  <a:cubicBezTo>
                    <a:pt x="61" y="39"/>
                    <a:pt x="60" y="60"/>
                    <a:pt x="60" y="104"/>
                  </a:cubicBezTo>
                  <a:cubicBezTo>
                    <a:pt x="60" y="149"/>
                    <a:pt x="61" y="169"/>
                    <a:pt x="97" y="169"/>
                  </a:cubicBezTo>
                  <a:cubicBezTo>
                    <a:pt x="132" y="169"/>
                    <a:pt x="133" y="149"/>
                    <a:pt x="133" y="104"/>
                  </a:cubicBezTo>
                  <a:cubicBezTo>
                    <a:pt x="133" y="60"/>
                    <a:pt x="132" y="39"/>
                    <a:pt x="97"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9" name="Freeform 18"/>
            <p:cNvSpPr>
              <a:spLocks/>
            </p:cNvSpPr>
            <p:nvPr/>
          </p:nvSpPr>
          <p:spPr bwMode="auto">
            <a:xfrm>
              <a:off x="6359525" y="3248025"/>
              <a:ext cx="366713" cy="412750"/>
            </a:xfrm>
            <a:custGeom>
              <a:avLst/>
              <a:gdLst/>
              <a:ahLst/>
              <a:cxnLst>
                <a:cxn ang="0">
                  <a:pos x="175" y="204"/>
                </a:cxn>
                <a:cxn ang="0">
                  <a:pos x="129" y="204"/>
                </a:cxn>
                <a:cxn ang="0">
                  <a:pos x="122" y="198"/>
                </a:cxn>
                <a:cxn ang="0">
                  <a:pos x="122" y="67"/>
                </a:cxn>
                <a:cxn ang="0">
                  <a:pos x="96" y="39"/>
                </a:cxn>
                <a:cxn ang="0">
                  <a:pos x="58" y="44"/>
                </a:cxn>
                <a:cxn ang="0">
                  <a:pos x="58" y="198"/>
                </a:cxn>
                <a:cxn ang="0">
                  <a:pos x="52" y="204"/>
                </a:cxn>
                <a:cxn ang="0">
                  <a:pos x="6" y="204"/>
                </a:cxn>
                <a:cxn ang="0">
                  <a:pos x="0" y="198"/>
                </a:cxn>
                <a:cxn ang="0">
                  <a:pos x="0" y="33"/>
                </a:cxn>
                <a:cxn ang="0">
                  <a:pos x="31" y="9"/>
                </a:cxn>
                <a:cxn ang="0">
                  <a:pos x="104" y="0"/>
                </a:cxn>
                <a:cxn ang="0">
                  <a:pos x="181" y="59"/>
                </a:cxn>
                <a:cxn ang="0">
                  <a:pos x="181" y="198"/>
                </a:cxn>
                <a:cxn ang="0">
                  <a:pos x="175" y="204"/>
                </a:cxn>
              </a:cxnLst>
              <a:rect l="0" t="0" r="r" b="b"/>
              <a:pathLst>
                <a:path w="181" h="204">
                  <a:moveTo>
                    <a:pt x="175" y="204"/>
                  </a:moveTo>
                  <a:cubicBezTo>
                    <a:pt x="129" y="204"/>
                    <a:pt x="129" y="204"/>
                    <a:pt x="129" y="204"/>
                  </a:cubicBezTo>
                  <a:cubicBezTo>
                    <a:pt x="125" y="204"/>
                    <a:pt x="122" y="202"/>
                    <a:pt x="122" y="198"/>
                  </a:cubicBezTo>
                  <a:cubicBezTo>
                    <a:pt x="122" y="67"/>
                    <a:pt x="122" y="67"/>
                    <a:pt x="122" y="67"/>
                  </a:cubicBezTo>
                  <a:cubicBezTo>
                    <a:pt x="122" y="46"/>
                    <a:pt x="114" y="39"/>
                    <a:pt x="96" y="39"/>
                  </a:cubicBezTo>
                  <a:cubicBezTo>
                    <a:pt x="78" y="39"/>
                    <a:pt x="58" y="44"/>
                    <a:pt x="58" y="44"/>
                  </a:cubicBezTo>
                  <a:cubicBezTo>
                    <a:pt x="58" y="198"/>
                    <a:pt x="58" y="198"/>
                    <a:pt x="58" y="198"/>
                  </a:cubicBezTo>
                  <a:cubicBezTo>
                    <a:pt x="58" y="202"/>
                    <a:pt x="56" y="204"/>
                    <a:pt x="52" y="204"/>
                  </a:cubicBezTo>
                  <a:cubicBezTo>
                    <a:pt x="6" y="204"/>
                    <a:pt x="6" y="204"/>
                    <a:pt x="6" y="204"/>
                  </a:cubicBezTo>
                  <a:cubicBezTo>
                    <a:pt x="2" y="204"/>
                    <a:pt x="0" y="202"/>
                    <a:pt x="0" y="198"/>
                  </a:cubicBezTo>
                  <a:cubicBezTo>
                    <a:pt x="0" y="33"/>
                    <a:pt x="0" y="33"/>
                    <a:pt x="0" y="33"/>
                  </a:cubicBezTo>
                  <a:cubicBezTo>
                    <a:pt x="0" y="18"/>
                    <a:pt x="9" y="14"/>
                    <a:pt x="31" y="9"/>
                  </a:cubicBezTo>
                  <a:cubicBezTo>
                    <a:pt x="50" y="4"/>
                    <a:pt x="80" y="0"/>
                    <a:pt x="104" y="0"/>
                  </a:cubicBezTo>
                  <a:cubicBezTo>
                    <a:pt x="152" y="0"/>
                    <a:pt x="181" y="11"/>
                    <a:pt x="181" y="59"/>
                  </a:cubicBezTo>
                  <a:cubicBezTo>
                    <a:pt x="181" y="198"/>
                    <a:pt x="181" y="198"/>
                    <a:pt x="181" y="198"/>
                  </a:cubicBezTo>
                  <a:cubicBezTo>
                    <a:pt x="181" y="202"/>
                    <a:pt x="178" y="204"/>
                    <a:pt x="175" y="2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20" name="Freeform 19"/>
            <p:cNvSpPr>
              <a:spLocks/>
            </p:cNvSpPr>
            <p:nvPr/>
          </p:nvSpPr>
          <p:spPr bwMode="auto">
            <a:xfrm>
              <a:off x="6804025" y="3122613"/>
              <a:ext cx="246063" cy="542925"/>
            </a:xfrm>
            <a:custGeom>
              <a:avLst/>
              <a:gdLst/>
              <a:ahLst/>
              <a:cxnLst>
                <a:cxn ang="0">
                  <a:pos x="121" y="256"/>
                </a:cxn>
                <a:cxn ang="0">
                  <a:pos x="116" y="262"/>
                </a:cxn>
                <a:cxn ang="0">
                  <a:pos x="68" y="269"/>
                </a:cxn>
                <a:cxn ang="0">
                  <a:pos x="0" y="207"/>
                </a:cxn>
                <a:cxn ang="0">
                  <a:pos x="0" y="16"/>
                </a:cxn>
                <a:cxn ang="0">
                  <a:pos x="7" y="7"/>
                </a:cxn>
                <a:cxn ang="0">
                  <a:pos x="50" y="0"/>
                </a:cxn>
                <a:cxn ang="0">
                  <a:pos x="52" y="0"/>
                </a:cxn>
                <a:cxn ang="0">
                  <a:pos x="58" y="6"/>
                </a:cxn>
                <a:cxn ang="0">
                  <a:pos x="58" y="67"/>
                </a:cxn>
                <a:cxn ang="0">
                  <a:pos x="109" y="67"/>
                </a:cxn>
                <a:cxn ang="0">
                  <a:pos x="115" y="72"/>
                </a:cxn>
                <a:cxn ang="0">
                  <a:pos x="115" y="103"/>
                </a:cxn>
                <a:cxn ang="0">
                  <a:pos x="109" y="108"/>
                </a:cxn>
                <a:cxn ang="0">
                  <a:pos x="58" y="108"/>
                </a:cxn>
                <a:cxn ang="0">
                  <a:pos x="58" y="204"/>
                </a:cxn>
                <a:cxn ang="0">
                  <a:pos x="83" y="228"/>
                </a:cxn>
                <a:cxn ang="0">
                  <a:pos x="110" y="225"/>
                </a:cxn>
                <a:cxn ang="0">
                  <a:pos x="111" y="225"/>
                </a:cxn>
                <a:cxn ang="0">
                  <a:pos x="116" y="229"/>
                </a:cxn>
                <a:cxn ang="0">
                  <a:pos x="121" y="253"/>
                </a:cxn>
                <a:cxn ang="0">
                  <a:pos x="121" y="256"/>
                </a:cxn>
              </a:cxnLst>
              <a:rect l="0" t="0" r="r" b="b"/>
              <a:pathLst>
                <a:path w="121" h="269">
                  <a:moveTo>
                    <a:pt x="121" y="256"/>
                  </a:moveTo>
                  <a:cubicBezTo>
                    <a:pt x="121" y="259"/>
                    <a:pt x="119" y="261"/>
                    <a:pt x="116" y="262"/>
                  </a:cubicBezTo>
                  <a:cubicBezTo>
                    <a:pt x="110" y="264"/>
                    <a:pt x="93" y="269"/>
                    <a:pt x="68" y="269"/>
                  </a:cubicBezTo>
                  <a:cubicBezTo>
                    <a:pt x="23" y="269"/>
                    <a:pt x="0" y="252"/>
                    <a:pt x="0" y="207"/>
                  </a:cubicBezTo>
                  <a:cubicBezTo>
                    <a:pt x="0" y="16"/>
                    <a:pt x="0" y="16"/>
                    <a:pt x="0" y="16"/>
                  </a:cubicBezTo>
                  <a:cubicBezTo>
                    <a:pt x="0" y="11"/>
                    <a:pt x="2" y="8"/>
                    <a:pt x="7" y="7"/>
                  </a:cubicBezTo>
                  <a:cubicBezTo>
                    <a:pt x="50" y="0"/>
                    <a:pt x="50" y="0"/>
                    <a:pt x="50" y="0"/>
                  </a:cubicBezTo>
                  <a:cubicBezTo>
                    <a:pt x="52" y="0"/>
                    <a:pt x="52" y="0"/>
                    <a:pt x="52" y="0"/>
                  </a:cubicBezTo>
                  <a:cubicBezTo>
                    <a:pt x="56" y="0"/>
                    <a:pt x="58" y="1"/>
                    <a:pt x="58" y="6"/>
                  </a:cubicBezTo>
                  <a:cubicBezTo>
                    <a:pt x="58" y="67"/>
                    <a:pt x="58" y="67"/>
                    <a:pt x="58" y="67"/>
                  </a:cubicBezTo>
                  <a:cubicBezTo>
                    <a:pt x="109" y="67"/>
                    <a:pt x="109" y="67"/>
                    <a:pt x="109" y="67"/>
                  </a:cubicBezTo>
                  <a:cubicBezTo>
                    <a:pt x="112" y="67"/>
                    <a:pt x="115" y="69"/>
                    <a:pt x="115" y="72"/>
                  </a:cubicBezTo>
                  <a:cubicBezTo>
                    <a:pt x="115" y="103"/>
                    <a:pt x="115" y="103"/>
                    <a:pt x="115" y="103"/>
                  </a:cubicBezTo>
                  <a:cubicBezTo>
                    <a:pt x="115" y="106"/>
                    <a:pt x="112" y="108"/>
                    <a:pt x="109" y="108"/>
                  </a:cubicBezTo>
                  <a:cubicBezTo>
                    <a:pt x="58" y="108"/>
                    <a:pt x="58" y="108"/>
                    <a:pt x="58" y="108"/>
                  </a:cubicBezTo>
                  <a:cubicBezTo>
                    <a:pt x="58" y="204"/>
                    <a:pt x="58" y="204"/>
                    <a:pt x="58" y="204"/>
                  </a:cubicBezTo>
                  <a:cubicBezTo>
                    <a:pt x="58" y="219"/>
                    <a:pt x="63" y="228"/>
                    <a:pt x="83" y="228"/>
                  </a:cubicBezTo>
                  <a:cubicBezTo>
                    <a:pt x="94" y="228"/>
                    <a:pt x="104" y="226"/>
                    <a:pt x="110" y="225"/>
                  </a:cubicBezTo>
                  <a:cubicBezTo>
                    <a:pt x="111" y="225"/>
                    <a:pt x="111" y="225"/>
                    <a:pt x="111" y="225"/>
                  </a:cubicBezTo>
                  <a:cubicBezTo>
                    <a:pt x="114" y="225"/>
                    <a:pt x="115" y="226"/>
                    <a:pt x="116" y="229"/>
                  </a:cubicBezTo>
                  <a:cubicBezTo>
                    <a:pt x="121" y="253"/>
                    <a:pt x="121" y="253"/>
                    <a:pt x="121" y="253"/>
                  </a:cubicBezTo>
                  <a:lnTo>
                    <a:pt x="121" y="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21" name="Freeform 20"/>
            <p:cNvSpPr>
              <a:spLocks noEditPoints="1"/>
            </p:cNvSpPr>
            <p:nvPr/>
          </p:nvSpPr>
          <p:spPr bwMode="auto">
            <a:xfrm>
              <a:off x="7083425" y="3248025"/>
              <a:ext cx="384175" cy="422275"/>
            </a:xfrm>
            <a:custGeom>
              <a:avLst/>
              <a:gdLst/>
              <a:ahLst/>
              <a:cxnLst>
                <a:cxn ang="0">
                  <a:pos x="189" y="119"/>
                </a:cxn>
                <a:cxn ang="0">
                  <a:pos x="180" y="129"/>
                </a:cxn>
                <a:cxn ang="0">
                  <a:pos x="58" y="129"/>
                </a:cxn>
                <a:cxn ang="0">
                  <a:pos x="74" y="161"/>
                </a:cxn>
                <a:cxn ang="0">
                  <a:pos x="115" y="170"/>
                </a:cxn>
                <a:cxn ang="0">
                  <a:pos x="167" y="161"/>
                </a:cxn>
                <a:cxn ang="0">
                  <a:pos x="168" y="161"/>
                </a:cxn>
                <a:cxn ang="0">
                  <a:pos x="174" y="167"/>
                </a:cxn>
                <a:cxn ang="0">
                  <a:pos x="179" y="188"/>
                </a:cxn>
                <a:cxn ang="0">
                  <a:pos x="180" y="190"/>
                </a:cxn>
                <a:cxn ang="0">
                  <a:pos x="176" y="196"/>
                </a:cxn>
                <a:cxn ang="0">
                  <a:pos x="105" y="209"/>
                </a:cxn>
                <a:cxn ang="0">
                  <a:pos x="0" y="105"/>
                </a:cxn>
                <a:cxn ang="0">
                  <a:pos x="95" y="0"/>
                </a:cxn>
                <a:cxn ang="0">
                  <a:pos x="171" y="26"/>
                </a:cxn>
                <a:cxn ang="0">
                  <a:pos x="190" y="101"/>
                </a:cxn>
                <a:cxn ang="0">
                  <a:pos x="189" y="119"/>
                </a:cxn>
                <a:cxn ang="0">
                  <a:pos x="132" y="92"/>
                </a:cxn>
                <a:cxn ang="0">
                  <a:pos x="130" y="65"/>
                </a:cxn>
                <a:cxn ang="0">
                  <a:pos x="96" y="38"/>
                </a:cxn>
                <a:cxn ang="0">
                  <a:pos x="60" y="63"/>
                </a:cxn>
                <a:cxn ang="0">
                  <a:pos x="58" y="94"/>
                </a:cxn>
                <a:cxn ang="0">
                  <a:pos x="132" y="94"/>
                </a:cxn>
                <a:cxn ang="0">
                  <a:pos x="132" y="92"/>
                </a:cxn>
              </a:cxnLst>
              <a:rect l="0" t="0" r="r" b="b"/>
              <a:pathLst>
                <a:path w="190" h="209">
                  <a:moveTo>
                    <a:pt x="189" y="119"/>
                  </a:moveTo>
                  <a:cubicBezTo>
                    <a:pt x="189" y="124"/>
                    <a:pt x="187" y="129"/>
                    <a:pt x="180" y="129"/>
                  </a:cubicBezTo>
                  <a:cubicBezTo>
                    <a:pt x="58" y="129"/>
                    <a:pt x="58" y="129"/>
                    <a:pt x="58" y="129"/>
                  </a:cubicBezTo>
                  <a:cubicBezTo>
                    <a:pt x="58" y="145"/>
                    <a:pt x="63" y="154"/>
                    <a:pt x="74" y="161"/>
                  </a:cubicBezTo>
                  <a:cubicBezTo>
                    <a:pt x="83" y="167"/>
                    <a:pt x="96" y="170"/>
                    <a:pt x="115" y="170"/>
                  </a:cubicBezTo>
                  <a:cubicBezTo>
                    <a:pt x="138" y="170"/>
                    <a:pt x="157" y="164"/>
                    <a:pt x="167" y="161"/>
                  </a:cubicBezTo>
                  <a:cubicBezTo>
                    <a:pt x="168" y="161"/>
                    <a:pt x="168" y="161"/>
                    <a:pt x="168" y="161"/>
                  </a:cubicBezTo>
                  <a:cubicBezTo>
                    <a:pt x="171" y="161"/>
                    <a:pt x="173" y="163"/>
                    <a:pt x="174" y="167"/>
                  </a:cubicBezTo>
                  <a:cubicBezTo>
                    <a:pt x="179" y="188"/>
                    <a:pt x="179" y="188"/>
                    <a:pt x="179" y="188"/>
                  </a:cubicBezTo>
                  <a:cubicBezTo>
                    <a:pt x="180" y="189"/>
                    <a:pt x="180" y="189"/>
                    <a:pt x="180" y="190"/>
                  </a:cubicBezTo>
                  <a:cubicBezTo>
                    <a:pt x="180" y="193"/>
                    <a:pt x="178" y="195"/>
                    <a:pt x="176" y="196"/>
                  </a:cubicBezTo>
                  <a:cubicBezTo>
                    <a:pt x="164" y="201"/>
                    <a:pt x="137" y="209"/>
                    <a:pt x="105" y="209"/>
                  </a:cubicBezTo>
                  <a:cubicBezTo>
                    <a:pt x="31" y="209"/>
                    <a:pt x="0" y="182"/>
                    <a:pt x="0" y="105"/>
                  </a:cubicBezTo>
                  <a:cubicBezTo>
                    <a:pt x="0" y="31"/>
                    <a:pt x="22" y="0"/>
                    <a:pt x="95" y="0"/>
                  </a:cubicBezTo>
                  <a:cubicBezTo>
                    <a:pt x="133" y="0"/>
                    <a:pt x="156" y="9"/>
                    <a:pt x="171" y="26"/>
                  </a:cubicBezTo>
                  <a:cubicBezTo>
                    <a:pt x="185" y="43"/>
                    <a:pt x="190" y="68"/>
                    <a:pt x="190" y="101"/>
                  </a:cubicBezTo>
                  <a:cubicBezTo>
                    <a:pt x="190" y="106"/>
                    <a:pt x="189" y="114"/>
                    <a:pt x="189" y="119"/>
                  </a:cubicBezTo>
                  <a:close/>
                  <a:moveTo>
                    <a:pt x="132" y="92"/>
                  </a:moveTo>
                  <a:cubicBezTo>
                    <a:pt x="132" y="81"/>
                    <a:pt x="131" y="73"/>
                    <a:pt x="130" y="65"/>
                  </a:cubicBezTo>
                  <a:cubicBezTo>
                    <a:pt x="125" y="45"/>
                    <a:pt x="115" y="38"/>
                    <a:pt x="96" y="38"/>
                  </a:cubicBezTo>
                  <a:cubicBezTo>
                    <a:pt x="72" y="38"/>
                    <a:pt x="63" y="46"/>
                    <a:pt x="60" y="63"/>
                  </a:cubicBezTo>
                  <a:cubicBezTo>
                    <a:pt x="58" y="73"/>
                    <a:pt x="58" y="82"/>
                    <a:pt x="58" y="94"/>
                  </a:cubicBezTo>
                  <a:cubicBezTo>
                    <a:pt x="132" y="94"/>
                    <a:pt x="132" y="94"/>
                    <a:pt x="132" y="94"/>
                  </a:cubicBezTo>
                  <a:lnTo>
                    <a:pt x="132"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22" name="Freeform 21"/>
            <p:cNvSpPr>
              <a:spLocks/>
            </p:cNvSpPr>
            <p:nvPr/>
          </p:nvSpPr>
          <p:spPr bwMode="auto">
            <a:xfrm>
              <a:off x="7515225" y="3248025"/>
              <a:ext cx="230188" cy="412750"/>
            </a:xfrm>
            <a:custGeom>
              <a:avLst/>
              <a:gdLst/>
              <a:ahLst/>
              <a:cxnLst>
                <a:cxn ang="0">
                  <a:pos x="107" y="43"/>
                </a:cxn>
                <a:cxn ang="0">
                  <a:pos x="59" y="48"/>
                </a:cxn>
                <a:cxn ang="0">
                  <a:pos x="59" y="198"/>
                </a:cxn>
                <a:cxn ang="0">
                  <a:pos x="53" y="204"/>
                </a:cxn>
                <a:cxn ang="0">
                  <a:pos x="6" y="204"/>
                </a:cxn>
                <a:cxn ang="0">
                  <a:pos x="0" y="198"/>
                </a:cxn>
                <a:cxn ang="0">
                  <a:pos x="0" y="32"/>
                </a:cxn>
                <a:cxn ang="0">
                  <a:pos x="17" y="13"/>
                </a:cxn>
                <a:cxn ang="0">
                  <a:pos x="63" y="4"/>
                </a:cxn>
                <a:cxn ang="0">
                  <a:pos x="100" y="0"/>
                </a:cxn>
                <a:cxn ang="0">
                  <a:pos x="103" y="0"/>
                </a:cxn>
                <a:cxn ang="0">
                  <a:pos x="111" y="2"/>
                </a:cxn>
                <a:cxn ang="0">
                  <a:pos x="114" y="8"/>
                </a:cxn>
                <a:cxn ang="0">
                  <a:pos x="114" y="36"/>
                </a:cxn>
                <a:cxn ang="0">
                  <a:pos x="107" y="43"/>
                </a:cxn>
              </a:cxnLst>
              <a:rect l="0" t="0" r="r" b="b"/>
              <a:pathLst>
                <a:path w="114" h="204">
                  <a:moveTo>
                    <a:pt x="107" y="43"/>
                  </a:moveTo>
                  <a:cubicBezTo>
                    <a:pt x="85" y="43"/>
                    <a:pt x="65" y="46"/>
                    <a:pt x="59" y="48"/>
                  </a:cubicBezTo>
                  <a:cubicBezTo>
                    <a:pt x="59" y="198"/>
                    <a:pt x="59" y="198"/>
                    <a:pt x="59" y="198"/>
                  </a:cubicBezTo>
                  <a:cubicBezTo>
                    <a:pt x="59" y="202"/>
                    <a:pt x="56" y="204"/>
                    <a:pt x="53" y="204"/>
                  </a:cubicBezTo>
                  <a:cubicBezTo>
                    <a:pt x="6" y="204"/>
                    <a:pt x="6" y="204"/>
                    <a:pt x="6" y="204"/>
                  </a:cubicBezTo>
                  <a:cubicBezTo>
                    <a:pt x="4" y="204"/>
                    <a:pt x="0" y="202"/>
                    <a:pt x="0" y="198"/>
                  </a:cubicBezTo>
                  <a:cubicBezTo>
                    <a:pt x="0" y="32"/>
                    <a:pt x="0" y="32"/>
                    <a:pt x="0" y="32"/>
                  </a:cubicBezTo>
                  <a:cubicBezTo>
                    <a:pt x="0" y="21"/>
                    <a:pt x="6" y="17"/>
                    <a:pt x="17" y="13"/>
                  </a:cubicBezTo>
                  <a:cubicBezTo>
                    <a:pt x="29" y="9"/>
                    <a:pt x="47" y="6"/>
                    <a:pt x="63" y="4"/>
                  </a:cubicBezTo>
                  <a:cubicBezTo>
                    <a:pt x="74" y="2"/>
                    <a:pt x="87" y="1"/>
                    <a:pt x="100" y="0"/>
                  </a:cubicBezTo>
                  <a:cubicBezTo>
                    <a:pt x="103" y="0"/>
                    <a:pt x="103" y="0"/>
                    <a:pt x="103" y="0"/>
                  </a:cubicBezTo>
                  <a:cubicBezTo>
                    <a:pt x="108" y="0"/>
                    <a:pt x="109" y="1"/>
                    <a:pt x="111" y="2"/>
                  </a:cubicBezTo>
                  <a:cubicBezTo>
                    <a:pt x="112" y="3"/>
                    <a:pt x="114" y="5"/>
                    <a:pt x="114" y="8"/>
                  </a:cubicBezTo>
                  <a:cubicBezTo>
                    <a:pt x="114" y="36"/>
                    <a:pt x="114" y="36"/>
                    <a:pt x="114" y="36"/>
                  </a:cubicBezTo>
                  <a:cubicBezTo>
                    <a:pt x="114" y="40"/>
                    <a:pt x="113" y="43"/>
                    <a:pt x="107"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23" name="Freeform 22"/>
            <p:cNvSpPr>
              <a:spLocks noEditPoints="1"/>
            </p:cNvSpPr>
            <p:nvPr/>
          </p:nvSpPr>
          <p:spPr bwMode="auto">
            <a:xfrm>
              <a:off x="7767638" y="3248025"/>
              <a:ext cx="371475" cy="422275"/>
            </a:xfrm>
            <a:custGeom>
              <a:avLst/>
              <a:gdLst/>
              <a:ahLst/>
              <a:cxnLst>
                <a:cxn ang="0">
                  <a:pos x="147" y="204"/>
                </a:cxn>
                <a:cxn ang="0">
                  <a:pos x="93" y="209"/>
                </a:cxn>
                <a:cxn ang="0">
                  <a:pos x="0" y="144"/>
                </a:cxn>
                <a:cxn ang="0">
                  <a:pos x="59" y="85"/>
                </a:cxn>
                <a:cxn ang="0">
                  <a:pos x="125" y="74"/>
                </a:cxn>
                <a:cxn ang="0">
                  <a:pos x="125" y="64"/>
                </a:cxn>
                <a:cxn ang="0">
                  <a:pos x="116" y="43"/>
                </a:cxn>
                <a:cxn ang="0">
                  <a:pos x="89" y="40"/>
                </a:cxn>
                <a:cxn ang="0">
                  <a:pos x="25" y="50"/>
                </a:cxn>
                <a:cxn ang="0">
                  <a:pos x="23" y="51"/>
                </a:cxn>
                <a:cxn ang="0">
                  <a:pos x="19" y="47"/>
                </a:cxn>
                <a:cxn ang="0">
                  <a:pos x="13" y="21"/>
                </a:cxn>
                <a:cxn ang="0">
                  <a:pos x="13" y="19"/>
                </a:cxn>
                <a:cxn ang="0">
                  <a:pos x="17" y="13"/>
                </a:cxn>
                <a:cxn ang="0">
                  <a:pos x="102" y="0"/>
                </a:cxn>
                <a:cxn ang="0">
                  <a:pos x="159" y="11"/>
                </a:cxn>
                <a:cxn ang="0">
                  <a:pos x="184" y="60"/>
                </a:cxn>
                <a:cxn ang="0">
                  <a:pos x="184" y="164"/>
                </a:cxn>
                <a:cxn ang="0">
                  <a:pos x="147" y="204"/>
                </a:cxn>
                <a:cxn ang="0">
                  <a:pos x="126" y="109"/>
                </a:cxn>
                <a:cxn ang="0">
                  <a:pos x="85" y="116"/>
                </a:cxn>
                <a:cxn ang="0">
                  <a:pos x="58" y="143"/>
                </a:cxn>
                <a:cxn ang="0">
                  <a:pos x="94" y="172"/>
                </a:cxn>
                <a:cxn ang="0">
                  <a:pos x="126" y="168"/>
                </a:cxn>
                <a:cxn ang="0">
                  <a:pos x="126" y="109"/>
                </a:cxn>
              </a:cxnLst>
              <a:rect l="0" t="0" r="r" b="b"/>
              <a:pathLst>
                <a:path w="184" h="209">
                  <a:moveTo>
                    <a:pt x="147" y="204"/>
                  </a:moveTo>
                  <a:cubicBezTo>
                    <a:pt x="133" y="207"/>
                    <a:pt x="115" y="209"/>
                    <a:pt x="93" y="209"/>
                  </a:cubicBezTo>
                  <a:cubicBezTo>
                    <a:pt x="49" y="209"/>
                    <a:pt x="0" y="203"/>
                    <a:pt x="0" y="144"/>
                  </a:cubicBezTo>
                  <a:cubicBezTo>
                    <a:pt x="0" y="95"/>
                    <a:pt x="31" y="89"/>
                    <a:pt x="59" y="85"/>
                  </a:cubicBezTo>
                  <a:cubicBezTo>
                    <a:pt x="125" y="74"/>
                    <a:pt x="125" y="74"/>
                    <a:pt x="125" y="74"/>
                  </a:cubicBezTo>
                  <a:cubicBezTo>
                    <a:pt x="125" y="64"/>
                    <a:pt x="125" y="64"/>
                    <a:pt x="125" y="64"/>
                  </a:cubicBezTo>
                  <a:cubicBezTo>
                    <a:pt x="125" y="54"/>
                    <a:pt x="124" y="47"/>
                    <a:pt x="116" y="43"/>
                  </a:cubicBezTo>
                  <a:cubicBezTo>
                    <a:pt x="111" y="41"/>
                    <a:pt x="102" y="40"/>
                    <a:pt x="89" y="40"/>
                  </a:cubicBezTo>
                  <a:cubicBezTo>
                    <a:pt x="65" y="40"/>
                    <a:pt x="36" y="48"/>
                    <a:pt x="25" y="50"/>
                  </a:cubicBezTo>
                  <a:cubicBezTo>
                    <a:pt x="25" y="50"/>
                    <a:pt x="24" y="51"/>
                    <a:pt x="23" y="51"/>
                  </a:cubicBezTo>
                  <a:cubicBezTo>
                    <a:pt x="21" y="51"/>
                    <a:pt x="19" y="49"/>
                    <a:pt x="19" y="47"/>
                  </a:cubicBezTo>
                  <a:cubicBezTo>
                    <a:pt x="13" y="21"/>
                    <a:pt x="13" y="21"/>
                    <a:pt x="13" y="21"/>
                  </a:cubicBezTo>
                  <a:cubicBezTo>
                    <a:pt x="13" y="20"/>
                    <a:pt x="13" y="20"/>
                    <a:pt x="13" y="19"/>
                  </a:cubicBezTo>
                  <a:cubicBezTo>
                    <a:pt x="13" y="16"/>
                    <a:pt x="15" y="14"/>
                    <a:pt x="17" y="13"/>
                  </a:cubicBezTo>
                  <a:cubicBezTo>
                    <a:pt x="25" y="10"/>
                    <a:pt x="61" y="0"/>
                    <a:pt x="102" y="0"/>
                  </a:cubicBezTo>
                  <a:cubicBezTo>
                    <a:pt x="128" y="0"/>
                    <a:pt x="147" y="4"/>
                    <a:pt x="159" y="11"/>
                  </a:cubicBezTo>
                  <a:cubicBezTo>
                    <a:pt x="178" y="21"/>
                    <a:pt x="184" y="38"/>
                    <a:pt x="184" y="60"/>
                  </a:cubicBezTo>
                  <a:cubicBezTo>
                    <a:pt x="184" y="164"/>
                    <a:pt x="184" y="164"/>
                    <a:pt x="184" y="164"/>
                  </a:cubicBezTo>
                  <a:cubicBezTo>
                    <a:pt x="184" y="193"/>
                    <a:pt x="173" y="198"/>
                    <a:pt x="147" y="204"/>
                  </a:cubicBezTo>
                  <a:close/>
                  <a:moveTo>
                    <a:pt x="126" y="109"/>
                  </a:moveTo>
                  <a:cubicBezTo>
                    <a:pt x="85" y="116"/>
                    <a:pt x="85" y="116"/>
                    <a:pt x="85" y="116"/>
                  </a:cubicBezTo>
                  <a:cubicBezTo>
                    <a:pt x="71" y="118"/>
                    <a:pt x="58" y="120"/>
                    <a:pt x="58" y="143"/>
                  </a:cubicBezTo>
                  <a:cubicBezTo>
                    <a:pt x="58" y="170"/>
                    <a:pt x="79" y="172"/>
                    <a:pt x="94" y="172"/>
                  </a:cubicBezTo>
                  <a:cubicBezTo>
                    <a:pt x="108" y="172"/>
                    <a:pt x="121" y="169"/>
                    <a:pt x="126" y="168"/>
                  </a:cubicBezTo>
                  <a:lnTo>
                    <a:pt x="126"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24" name="Freeform 23"/>
            <p:cNvSpPr>
              <a:spLocks noEditPoints="1"/>
            </p:cNvSpPr>
            <p:nvPr/>
          </p:nvSpPr>
          <p:spPr bwMode="auto">
            <a:xfrm>
              <a:off x="4910138" y="2455863"/>
              <a:ext cx="1085850" cy="919162"/>
            </a:xfrm>
            <a:custGeom>
              <a:avLst/>
              <a:gdLst/>
              <a:ahLst/>
              <a:cxnLst>
                <a:cxn ang="0">
                  <a:pos x="470" y="238"/>
                </a:cxn>
                <a:cxn ang="0">
                  <a:pos x="497" y="67"/>
                </a:cxn>
                <a:cxn ang="0">
                  <a:pos x="326" y="39"/>
                </a:cxn>
                <a:cxn ang="0">
                  <a:pos x="220" y="250"/>
                </a:cxn>
                <a:cxn ang="0">
                  <a:pos x="50" y="276"/>
                </a:cxn>
                <a:cxn ang="0">
                  <a:pos x="29" y="404"/>
                </a:cxn>
                <a:cxn ang="0">
                  <a:pos x="158" y="425"/>
                </a:cxn>
                <a:cxn ang="0">
                  <a:pos x="235" y="272"/>
                </a:cxn>
                <a:cxn ang="0">
                  <a:pos x="470" y="238"/>
                </a:cxn>
                <a:cxn ang="0">
                  <a:pos x="295" y="137"/>
                </a:cxn>
                <a:cxn ang="0">
                  <a:pos x="381" y="151"/>
                </a:cxn>
                <a:cxn ang="0">
                  <a:pos x="367" y="237"/>
                </a:cxn>
                <a:cxn ang="0">
                  <a:pos x="242" y="254"/>
                </a:cxn>
                <a:cxn ang="0">
                  <a:pos x="238" y="254"/>
                </a:cxn>
                <a:cxn ang="0">
                  <a:pos x="239" y="250"/>
                </a:cxn>
                <a:cxn ang="0">
                  <a:pos x="295" y="137"/>
                </a:cxn>
                <a:cxn ang="0">
                  <a:pos x="175" y="356"/>
                </a:cxn>
                <a:cxn ang="0">
                  <a:pos x="110" y="346"/>
                </a:cxn>
                <a:cxn ang="0">
                  <a:pos x="121" y="281"/>
                </a:cxn>
                <a:cxn ang="0">
                  <a:pos x="214" y="268"/>
                </a:cxn>
                <a:cxn ang="0">
                  <a:pos x="218" y="268"/>
                </a:cxn>
                <a:cxn ang="0">
                  <a:pos x="217" y="272"/>
                </a:cxn>
                <a:cxn ang="0">
                  <a:pos x="175" y="356"/>
                </a:cxn>
              </a:cxnLst>
              <a:rect l="0" t="0" r="r" b="b"/>
              <a:pathLst>
                <a:path w="537" h="455">
                  <a:moveTo>
                    <a:pt x="470" y="238"/>
                  </a:moveTo>
                  <a:cubicBezTo>
                    <a:pt x="524" y="198"/>
                    <a:pt x="537" y="122"/>
                    <a:pt x="497" y="67"/>
                  </a:cubicBezTo>
                  <a:cubicBezTo>
                    <a:pt x="458" y="12"/>
                    <a:pt x="381" y="0"/>
                    <a:pt x="326" y="39"/>
                  </a:cubicBezTo>
                  <a:cubicBezTo>
                    <a:pt x="283" y="71"/>
                    <a:pt x="237" y="199"/>
                    <a:pt x="220" y="250"/>
                  </a:cubicBezTo>
                  <a:cubicBezTo>
                    <a:pt x="176" y="251"/>
                    <a:pt x="81" y="253"/>
                    <a:pt x="50" y="276"/>
                  </a:cubicBezTo>
                  <a:cubicBezTo>
                    <a:pt x="9" y="306"/>
                    <a:pt x="0" y="363"/>
                    <a:pt x="29" y="404"/>
                  </a:cubicBezTo>
                  <a:cubicBezTo>
                    <a:pt x="59" y="445"/>
                    <a:pt x="116" y="455"/>
                    <a:pt x="158" y="425"/>
                  </a:cubicBezTo>
                  <a:cubicBezTo>
                    <a:pt x="189" y="402"/>
                    <a:pt x="222" y="313"/>
                    <a:pt x="235" y="272"/>
                  </a:cubicBezTo>
                  <a:cubicBezTo>
                    <a:pt x="289" y="272"/>
                    <a:pt x="426" y="269"/>
                    <a:pt x="470" y="238"/>
                  </a:cubicBezTo>
                  <a:close/>
                  <a:moveTo>
                    <a:pt x="295" y="137"/>
                  </a:moveTo>
                  <a:cubicBezTo>
                    <a:pt x="322" y="117"/>
                    <a:pt x="361" y="123"/>
                    <a:pt x="381" y="151"/>
                  </a:cubicBezTo>
                  <a:cubicBezTo>
                    <a:pt x="401" y="178"/>
                    <a:pt x="395" y="217"/>
                    <a:pt x="367" y="237"/>
                  </a:cubicBezTo>
                  <a:cubicBezTo>
                    <a:pt x="343" y="255"/>
                    <a:pt x="261" y="254"/>
                    <a:pt x="242" y="254"/>
                  </a:cubicBezTo>
                  <a:cubicBezTo>
                    <a:pt x="239" y="254"/>
                    <a:pt x="238" y="254"/>
                    <a:pt x="238" y="254"/>
                  </a:cubicBezTo>
                  <a:cubicBezTo>
                    <a:pt x="238" y="254"/>
                    <a:pt x="238" y="253"/>
                    <a:pt x="239" y="250"/>
                  </a:cubicBezTo>
                  <a:cubicBezTo>
                    <a:pt x="245" y="232"/>
                    <a:pt x="270" y="154"/>
                    <a:pt x="295" y="137"/>
                  </a:cubicBezTo>
                  <a:close/>
                  <a:moveTo>
                    <a:pt x="175" y="356"/>
                  </a:moveTo>
                  <a:cubicBezTo>
                    <a:pt x="154" y="371"/>
                    <a:pt x="125" y="367"/>
                    <a:pt x="110" y="346"/>
                  </a:cubicBezTo>
                  <a:cubicBezTo>
                    <a:pt x="95" y="325"/>
                    <a:pt x="100" y="296"/>
                    <a:pt x="121" y="281"/>
                  </a:cubicBezTo>
                  <a:cubicBezTo>
                    <a:pt x="139" y="268"/>
                    <a:pt x="198" y="268"/>
                    <a:pt x="214" y="268"/>
                  </a:cubicBezTo>
                  <a:cubicBezTo>
                    <a:pt x="216" y="268"/>
                    <a:pt x="218" y="268"/>
                    <a:pt x="218" y="268"/>
                  </a:cubicBezTo>
                  <a:cubicBezTo>
                    <a:pt x="218" y="268"/>
                    <a:pt x="218" y="270"/>
                    <a:pt x="217" y="272"/>
                  </a:cubicBezTo>
                  <a:cubicBezTo>
                    <a:pt x="212" y="288"/>
                    <a:pt x="193" y="343"/>
                    <a:pt x="175" y="3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grpSp>
    </p:spTree>
    <p:extLst>
      <p:ext uri="{BB962C8B-B14F-4D97-AF65-F5344CB8AC3E}">
        <p14:creationId xmlns:p14="http://schemas.microsoft.com/office/powerpoint/2010/main" val="255593369"/>
      </p:ext>
    </p:extLst>
  </p:cSld>
  <p:clrMapOvr>
    <a:masterClrMapping/>
  </p:clrMapOvr>
  <p:transition xmlns:p14="http://schemas.microsoft.com/office/powerpoint/2010/mai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401" y="2176273"/>
            <a:ext cx="7772400" cy="1021557"/>
          </a:xfrm>
        </p:spPr>
        <p:txBody>
          <a:bodyPr anchor="b" anchorCtr="0"/>
          <a:lstStyle>
            <a:lvl1pPr algn="l">
              <a:defRPr sz="1800" b="0" cap="none"/>
            </a:lvl1pPr>
          </a:lstStyle>
          <a:p>
            <a:r>
              <a:rPr lang="en-US" dirty="0"/>
              <a:t>Click to edit master title style</a:t>
            </a:r>
          </a:p>
        </p:txBody>
      </p:sp>
      <p:sp>
        <p:nvSpPr>
          <p:cNvPr id="3" name="Text Placeholder 2"/>
          <p:cNvSpPr>
            <a:spLocks noGrp="1"/>
          </p:cNvSpPr>
          <p:nvPr>
            <p:ph type="body" idx="1" hasCustomPrompt="1"/>
          </p:nvPr>
        </p:nvSpPr>
        <p:spPr>
          <a:xfrm>
            <a:off x="238852" y="3200400"/>
            <a:ext cx="7772400" cy="1125140"/>
          </a:xfrm>
        </p:spPr>
        <p:txBody>
          <a:bodyPr anchor="t" anchorCtr="0"/>
          <a:lstStyle>
            <a:lvl1pPr marL="0" indent="0">
              <a:buNone/>
              <a:defRPr sz="1500">
                <a:solidFill>
                  <a:schemeClr val="bg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a:solidFill>
                <a:srgbClr val="B4B4B4"/>
              </a:solidFill>
            </a:endParaRPr>
          </a:p>
        </p:txBody>
      </p:sp>
      <p:sp>
        <p:nvSpPr>
          <p:cNvPr id="6" name="Slide Number Placeholder 5"/>
          <p:cNvSpPr>
            <a:spLocks noGrp="1"/>
          </p:cNvSpPr>
          <p:nvPr>
            <p:ph type="sldNum" sz="quarter" idx="12"/>
          </p:nvPr>
        </p:nvSpPr>
        <p:spPr/>
        <p:txBody>
          <a:bodyPr/>
          <a:lstStyle/>
          <a:p>
            <a:fld id="{52BB5B38-2141-4D75-B405-23F83BDD5945}" type="slidenum">
              <a:rPr lang="en-US" smtClean="0">
                <a:solidFill>
                  <a:srgbClr val="B4B4B4"/>
                </a:solidFill>
              </a:rPr>
              <a:pPr/>
              <a:t>‹#›</a:t>
            </a:fld>
            <a:endParaRPr lang="en-US">
              <a:solidFill>
                <a:srgbClr val="B4B4B4"/>
              </a:solidFill>
            </a:endParaRPr>
          </a:p>
        </p:txBody>
      </p:sp>
      <p:grpSp>
        <p:nvGrpSpPr>
          <p:cNvPr id="7" name="Group 7"/>
          <p:cNvGrpSpPr>
            <a:grpSpLocks noChangeAspect="1"/>
          </p:cNvGrpSpPr>
          <p:nvPr userDrawn="1"/>
        </p:nvGrpSpPr>
        <p:grpSpPr>
          <a:xfrm>
            <a:off x="336180" y="4872435"/>
            <a:ext cx="689616" cy="194526"/>
            <a:chOff x="4910138" y="2455863"/>
            <a:chExt cx="3228975" cy="1214437"/>
          </a:xfrm>
          <a:solidFill>
            <a:schemeClr val="tx1"/>
          </a:solidFill>
        </p:grpSpPr>
        <p:sp>
          <p:nvSpPr>
            <p:cNvPr id="8" name="Freeform 7"/>
            <p:cNvSpPr>
              <a:spLocks/>
            </p:cNvSpPr>
            <p:nvPr/>
          </p:nvSpPr>
          <p:spPr bwMode="auto">
            <a:xfrm>
              <a:off x="5408613" y="3094038"/>
              <a:ext cx="492125" cy="566737"/>
            </a:xfrm>
            <a:custGeom>
              <a:avLst/>
              <a:gdLst/>
              <a:ahLst/>
              <a:cxnLst>
                <a:cxn ang="0">
                  <a:pos x="243" y="274"/>
                </a:cxn>
                <a:cxn ang="0">
                  <a:pos x="238" y="280"/>
                </a:cxn>
                <a:cxn ang="0">
                  <a:pos x="174" y="280"/>
                </a:cxn>
                <a:cxn ang="0">
                  <a:pos x="166" y="276"/>
                </a:cxn>
                <a:cxn ang="0">
                  <a:pos x="81" y="162"/>
                </a:cxn>
                <a:cxn ang="0">
                  <a:pos x="63" y="162"/>
                </a:cxn>
                <a:cxn ang="0">
                  <a:pos x="63" y="274"/>
                </a:cxn>
                <a:cxn ang="0">
                  <a:pos x="57" y="280"/>
                </a:cxn>
                <a:cxn ang="0">
                  <a:pos x="6" y="280"/>
                </a:cxn>
                <a:cxn ang="0">
                  <a:pos x="0" y="274"/>
                </a:cxn>
                <a:cxn ang="0">
                  <a:pos x="0" y="5"/>
                </a:cxn>
                <a:cxn ang="0">
                  <a:pos x="6" y="0"/>
                </a:cxn>
                <a:cxn ang="0">
                  <a:pos x="57" y="0"/>
                </a:cxn>
                <a:cxn ang="0">
                  <a:pos x="63" y="5"/>
                </a:cxn>
                <a:cxn ang="0">
                  <a:pos x="63" y="116"/>
                </a:cxn>
                <a:cxn ang="0">
                  <a:pos x="81" y="116"/>
                </a:cxn>
                <a:cxn ang="0">
                  <a:pos x="163" y="3"/>
                </a:cxn>
                <a:cxn ang="0">
                  <a:pos x="169" y="0"/>
                </a:cxn>
                <a:cxn ang="0">
                  <a:pos x="170" y="0"/>
                </a:cxn>
                <a:cxn ang="0">
                  <a:pos x="230" y="0"/>
                </a:cxn>
                <a:cxn ang="0">
                  <a:pos x="235" y="6"/>
                </a:cxn>
                <a:cxn ang="0">
                  <a:pos x="234" y="9"/>
                </a:cxn>
                <a:cxn ang="0">
                  <a:pos x="134" y="137"/>
                </a:cxn>
                <a:cxn ang="0">
                  <a:pos x="242" y="271"/>
                </a:cxn>
                <a:cxn ang="0">
                  <a:pos x="243" y="274"/>
                </a:cxn>
              </a:cxnLst>
              <a:rect l="0" t="0" r="r" b="b"/>
              <a:pathLst>
                <a:path w="243" h="280">
                  <a:moveTo>
                    <a:pt x="243" y="274"/>
                  </a:moveTo>
                  <a:cubicBezTo>
                    <a:pt x="243" y="277"/>
                    <a:pt x="240" y="280"/>
                    <a:pt x="238" y="280"/>
                  </a:cubicBezTo>
                  <a:cubicBezTo>
                    <a:pt x="174" y="280"/>
                    <a:pt x="174" y="280"/>
                    <a:pt x="174" y="280"/>
                  </a:cubicBezTo>
                  <a:cubicBezTo>
                    <a:pt x="170" y="280"/>
                    <a:pt x="167" y="278"/>
                    <a:pt x="166" y="276"/>
                  </a:cubicBezTo>
                  <a:cubicBezTo>
                    <a:pt x="81" y="162"/>
                    <a:pt x="81" y="162"/>
                    <a:pt x="81" y="162"/>
                  </a:cubicBezTo>
                  <a:cubicBezTo>
                    <a:pt x="63" y="162"/>
                    <a:pt x="63" y="162"/>
                    <a:pt x="63" y="162"/>
                  </a:cubicBezTo>
                  <a:cubicBezTo>
                    <a:pt x="63" y="274"/>
                    <a:pt x="63" y="274"/>
                    <a:pt x="63" y="274"/>
                  </a:cubicBezTo>
                  <a:cubicBezTo>
                    <a:pt x="63" y="278"/>
                    <a:pt x="60" y="280"/>
                    <a:pt x="57" y="280"/>
                  </a:cubicBezTo>
                  <a:cubicBezTo>
                    <a:pt x="6" y="280"/>
                    <a:pt x="6" y="280"/>
                    <a:pt x="6" y="280"/>
                  </a:cubicBezTo>
                  <a:cubicBezTo>
                    <a:pt x="3" y="280"/>
                    <a:pt x="0" y="278"/>
                    <a:pt x="0" y="274"/>
                  </a:cubicBezTo>
                  <a:cubicBezTo>
                    <a:pt x="0" y="5"/>
                    <a:pt x="0" y="5"/>
                    <a:pt x="0" y="5"/>
                  </a:cubicBezTo>
                  <a:cubicBezTo>
                    <a:pt x="0" y="2"/>
                    <a:pt x="3" y="0"/>
                    <a:pt x="6" y="0"/>
                  </a:cubicBezTo>
                  <a:cubicBezTo>
                    <a:pt x="57" y="0"/>
                    <a:pt x="57" y="0"/>
                    <a:pt x="57" y="0"/>
                  </a:cubicBezTo>
                  <a:cubicBezTo>
                    <a:pt x="60" y="0"/>
                    <a:pt x="63" y="2"/>
                    <a:pt x="63" y="5"/>
                  </a:cubicBezTo>
                  <a:cubicBezTo>
                    <a:pt x="63" y="116"/>
                    <a:pt x="63" y="116"/>
                    <a:pt x="63" y="116"/>
                  </a:cubicBezTo>
                  <a:cubicBezTo>
                    <a:pt x="81" y="116"/>
                    <a:pt x="81" y="116"/>
                    <a:pt x="81" y="116"/>
                  </a:cubicBezTo>
                  <a:cubicBezTo>
                    <a:pt x="163" y="3"/>
                    <a:pt x="163" y="3"/>
                    <a:pt x="163" y="3"/>
                  </a:cubicBezTo>
                  <a:cubicBezTo>
                    <a:pt x="165" y="1"/>
                    <a:pt x="166" y="0"/>
                    <a:pt x="169" y="0"/>
                  </a:cubicBezTo>
                  <a:cubicBezTo>
                    <a:pt x="170" y="0"/>
                    <a:pt x="170" y="0"/>
                    <a:pt x="170" y="0"/>
                  </a:cubicBezTo>
                  <a:cubicBezTo>
                    <a:pt x="230" y="0"/>
                    <a:pt x="230" y="0"/>
                    <a:pt x="230" y="0"/>
                  </a:cubicBezTo>
                  <a:cubicBezTo>
                    <a:pt x="232" y="0"/>
                    <a:pt x="235" y="3"/>
                    <a:pt x="235" y="6"/>
                  </a:cubicBezTo>
                  <a:cubicBezTo>
                    <a:pt x="235" y="7"/>
                    <a:pt x="234" y="8"/>
                    <a:pt x="234" y="9"/>
                  </a:cubicBezTo>
                  <a:cubicBezTo>
                    <a:pt x="134" y="137"/>
                    <a:pt x="134" y="137"/>
                    <a:pt x="134" y="137"/>
                  </a:cubicBezTo>
                  <a:cubicBezTo>
                    <a:pt x="242" y="271"/>
                    <a:pt x="242" y="271"/>
                    <a:pt x="242" y="271"/>
                  </a:cubicBezTo>
                  <a:cubicBezTo>
                    <a:pt x="242" y="272"/>
                    <a:pt x="243" y="273"/>
                    <a:pt x="243"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9" name="Freeform 8"/>
            <p:cNvSpPr>
              <a:spLocks noEditPoints="1"/>
            </p:cNvSpPr>
            <p:nvPr/>
          </p:nvSpPr>
          <p:spPr bwMode="auto">
            <a:xfrm>
              <a:off x="5903913" y="3248025"/>
              <a:ext cx="390525" cy="422275"/>
            </a:xfrm>
            <a:custGeom>
              <a:avLst/>
              <a:gdLst/>
              <a:ahLst/>
              <a:cxnLst>
                <a:cxn ang="0">
                  <a:pos x="97" y="209"/>
                </a:cxn>
                <a:cxn ang="0">
                  <a:pos x="0" y="104"/>
                </a:cxn>
                <a:cxn ang="0">
                  <a:pos x="97" y="0"/>
                </a:cxn>
                <a:cxn ang="0">
                  <a:pos x="193" y="104"/>
                </a:cxn>
                <a:cxn ang="0">
                  <a:pos x="97" y="209"/>
                </a:cxn>
                <a:cxn ang="0">
                  <a:pos x="97" y="39"/>
                </a:cxn>
                <a:cxn ang="0">
                  <a:pos x="60" y="104"/>
                </a:cxn>
                <a:cxn ang="0">
                  <a:pos x="97" y="169"/>
                </a:cxn>
                <a:cxn ang="0">
                  <a:pos x="133" y="104"/>
                </a:cxn>
                <a:cxn ang="0">
                  <a:pos x="97" y="39"/>
                </a:cxn>
              </a:cxnLst>
              <a:rect l="0" t="0" r="r" b="b"/>
              <a:pathLst>
                <a:path w="193" h="209">
                  <a:moveTo>
                    <a:pt x="97" y="209"/>
                  </a:moveTo>
                  <a:cubicBezTo>
                    <a:pt x="11" y="209"/>
                    <a:pt x="0" y="163"/>
                    <a:pt x="0" y="104"/>
                  </a:cubicBezTo>
                  <a:cubicBezTo>
                    <a:pt x="0" y="46"/>
                    <a:pt x="11" y="0"/>
                    <a:pt x="97" y="0"/>
                  </a:cubicBezTo>
                  <a:cubicBezTo>
                    <a:pt x="182" y="0"/>
                    <a:pt x="193" y="46"/>
                    <a:pt x="193" y="104"/>
                  </a:cubicBezTo>
                  <a:cubicBezTo>
                    <a:pt x="193" y="163"/>
                    <a:pt x="182" y="209"/>
                    <a:pt x="97" y="209"/>
                  </a:cubicBezTo>
                  <a:close/>
                  <a:moveTo>
                    <a:pt x="97" y="39"/>
                  </a:moveTo>
                  <a:cubicBezTo>
                    <a:pt x="61" y="39"/>
                    <a:pt x="60" y="60"/>
                    <a:pt x="60" y="104"/>
                  </a:cubicBezTo>
                  <a:cubicBezTo>
                    <a:pt x="60" y="149"/>
                    <a:pt x="61" y="169"/>
                    <a:pt x="97" y="169"/>
                  </a:cubicBezTo>
                  <a:cubicBezTo>
                    <a:pt x="132" y="169"/>
                    <a:pt x="133" y="149"/>
                    <a:pt x="133" y="104"/>
                  </a:cubicBezTo>
                  <a:cubicBezTo>
                    <a:pt x="133" y="60"/>
                    <a:pt x="132" y="39"/>
                    <a:pt x="97"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0" name="Freeform 9"/>
            <p:cNvSpPr>
              <a:spLocks/>
            </p:cNvSpPr>
            <p:nvPr/>
          </p:nvSpPr>
          <p:spPr bwMode="auto">
            <a:xfrm>
              <a:off x="6359525" y="3248025"/>
              <a:ext cx="366713" cy="412750"/>
            </a:xfrm>
            <a:custGeom>
              <a:avLst/>
              <a:gdLst/>
              <a:ahLst/>
              <a:cxnLst>
                <a:cxn ang="0">
                  <a:pos x="175" y="204"/>
                </a:cxn>
                <a:cxn ang="0">
                  <a:pos x="129" y="204"/>
                </a:cxn>
                <a:cxn ang="0">
                  <a:pos x="122" y="198"/>
                </a:cxn>
                <a:cxn ang="0">
                  <a:pos x="122" y="67"/>
                </a:cxn>
                <a:cxn ang="0">
                  <a:pos x="96" y="39"/>
                </a:cxn>
                <a:cxn ang="0">
                  <a:pos x="58" y="44"/>
                </a:cxn>
                <a:cxn ang="0">
                  <a:pos x="58" y="198"/>
                </a:cxn>
                <a:cxn ang="0">
                  <a:pos x="52" y="204"/>
                </a:cxn>
                <a:cxn ang="0">
                  <a:pos x="6" y="204"/>
                </a:cxn>
                <a:cxn ang="0">
                  <a:pos x="0" y="198"/>
                </a:cxn>
                <a:cxn ang="0">
                  <a:pos x="0" y="33"/>
                </a:cxn>
                <a:cxn ang="0">
                  <a:pos x="31" y="9"/>
                </a:cxn>
                <a:cxn ang="0">
                  <a:pos x="104" y="0"/>
                </a:cxn>
                <a:cxn ang="0">
                  <a:pos x="181" y="59"/>
                </a:cxn>
                <a:cxn ang="0">
                  <a:pos x="181" y="198"/>
                </a:cxn>
                <a:cxn ang="0">
                  <a:pos x="175" y="204"/>
                </a:cxn>
              </a:cxnLst>
              <a:rect l="0" t="0" r="r" b="b"/>
              <a:pathLst>
                <a:path w="181" h="204">
                  <a:moveTo>
                    <a:pt x="175" y="204"/>
                  </a:moveTo>
                  <a:cubicBezTo>
                    <a:pt x="129" y="204"/>
                    <a:pt x="129" y="204"/>
                    <a:pt x="129" y="204"/>
                  </a:cubicBezTo>
                  <a:cubicBezTo>
                    <a:pt x="125" y="204"/>
                    <a:pt x="122" y="202"/>
                    <a:pt x="122" y="198"/>
                  </a:cubicBezTo>
                  <a:cubicBezTo>
                    <a:pt x="122" y="67"/>
                    <a:pt x="122" y="67"/>
                    <a:pt x="122" y="67"/>
                  </a:cubicBezTo>
                  <a:cubicBezTo>
                    <a:pt x="122" y="46"/>
                    <a:pt x="114" y="39"/>
                    <a:pt x="96" y="39"/>
                  </a:cubicBezTo>
                  <a:cubicBezTo>
                    <a:pt x="78" y="39"/>
                    <a:pt x="58" y="44"/>
                    <a:pt x="58" y="44"/>
                  </a:cubicBezTo>
                  <a:cubicBezTo>
                    <a:pt x="58" y="198"/>
                    <a:pt x="58" y="198"/>
                    <a:pt x="58" y="198"/>
                  </a:cubicBezTo>
                  <a:cubicBezTo>
                    <a:pt x="58" y="202"/>
                    <a:pt x="56" y="204"/>
                    <a:pt x="52" y="204"/>
                  </a:cubicBezTo>
                  <a:cubicBezTo>
                    <a:pt x="6" y="204"/>
                    <a:pt x="6" y="204"/>
                    <a:pt x="6" y="204"/>
                  </a:cubicBezTo>
                  <a:cubicBezTo>
                    <a:pt x="2" y="204"/>
                    <a:pt x="0" y="202"/>
                    <a:pt x="0" y="198"/>
                  </a:cubicBezTo>
                  <a:cubicBezTo>
                    <a:pt x="0" y="33"/>
                    <a:pt x="0" y="33"/>
                    <a:pt x="0" y="33"/>
                  </a:cubicBezTo>
                  <a:cubicBezTo>
                    <a:pt x="0" y="18"/>
                    <a:pt x="9" y="14"/>
                    <a:pt x="31" y="9"/>
                  </a:cubicBezTo>
                  <a:cubicBezTo>
                    <a:pt x="50" y="4"/>
                    <a:pt x="80" y="0"/>
                    <a:pt x="104" y="0"/>
                  </a:cubicBezTo>
                  <a:cubicBezTo>
                    <a:pt x="152" y="0"/>
                    <a:pt x="181" y="11"/>
                    <a:pt x="181" y="59"/>
                  </a:cubicBezTo>
                  <a:cubicBezTo>
                    <a:pt x="181" y="198"/>
                    <a:pt x="181" y="198"/>
                    <a:pt x="181" y="198"/>
                  </a:cubicBezTo>
                  <a:cubicBezTo>
                    <a:pt x="181" y="202"/>
                    <a:pt x="178" y="204"/>
                    <a:pt x="175" y="2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1" name="Freeform 10"/>
            <p:cNvSpPr>
              <a:spLocks/>
            </p:cNvSpPr>
            <p:nvPr/>
          </p:nvSpPr>
          <p:spPr bwMode="auto">
            <a:xfrm>
              <a:off x="6804025" y="3122613"/>
              <a:ext cx="246063" cy="542925"/>
            </a:xfrm>
            <a:custGeom>
              <a:avLst/>
              <a:gdLst/>
              <a:ahLst/>
              <a:cxnLst>
                <a:cxn ang="0">
                  <a:pos x="121" y="256"/>
                </a:cxn>
                <a:cxn ang="0">
                  <a:pos x="116" y="262"/>
                </a:cxn>
                <a:cxn ang="0">
                  <a:pos x="68" y="269"/>
                </a:cxn>
                <a:cxn ang="0">
                  <a:pos x="0" y="207"/>
                </a:cxn>
                <a:cxn ang="0">
                  <a:pos x="0" y="16"/>
                </a:cxn>
                <a:cxn ang="0">
                  <a:pos x="7" y="7"/>
                </a:cxn>
                <a:cxn ang="0">
                  <a:pos x="50" y="0"/>
                </a:cxn>
                <a:cxn ang="0">
                  <a:pos x="52" y="0"/>
                </a:cxn>
                <a:cxn ang="0">
                  <a:pos x="58" y="6"/>
                </a:cxn>
                <a:cxn ang="0">
                  <a:pos x="58" y="67"/>
                </a:cxn>
                <a:cxn ang="0">
                  <a:pos x="109" y="67"/>
                </a:cxn>
                <a:cxn ang="0">
                  <a:pos x="115" y="72"/>
                </a:cxn>
                <a:cxn ang="0">
                  <a:pos x="115" y="103"/>
                </a:cxn>
                <a:cxn ang="0">
                  <a:pos x="109" y="108"/>
                </a:cxn>
                <a:cxn ang="0">
                  <a:pos x="58" y="108"/>
                </a:cxn>
                <a:cxn ang="0">
                  <a:pos x="58" y="204"/>
                </a:cxn>
                <a:cxn ang="0">
                  <a:pos x="83" y="228"/>
                </a:cxn>
                <a:cxn ang="0">
                  <a:pos x="110" y="225"/>
                </a:cxn>
                <a:cxn ang="0">
                  <a:pos x="111" y="225"/>
                </a:cxn>
                <a:cxn ang="0">
                  <a:pos x="116" y="229"/>
                </a:cxn>
                <a:cxn ang="0">
                  <a:pos x="121" y="253"/>
                </a:cxn>
                <a:cxn ang="0">
                  <a:pos x="121" y="256"/>
                </a:cxn>
              </a:cxnLst>
              <a:rect l="0" t="0" r="r" b="b"/>
              <a:pathLst>
                <a:path w="121" h="269">
                  <a:moveTo>
                    <a:pt x="121" y="256"/>
                  </a:moveTo>
                  <a:cubicBezTo>
                    <a:pt x="121" y="259"/>
                    <a:pt x="119" y="261"/>
                    <a:pt x="116" y="262"/>
                  </a:cubicBezTo>
                  <a:cubicBezTo>
                    <a:pt x="110" y="264"/>
                    <a:pt x="93" y="269"/>
                    <a:pt x="68" y="269"/>
                  </a:cubicBezTo>
                  <a:cubicBezTo>
                    <a:pt x="23" y="269"/>
                    <a:pt x="0" y="252"/>
                    <a:pt x="0" y="207"/>
                  </a:cubicBezTo>
                  <a:cubicBezTo>
                    <a:pt x="0" y="16"/>
                    <a:pt x="0" y="16"/>
                    <a:pt x="0" y="16"/>
                  </a:cubicBezTo>
                  <a:cubicBezTo>
                    <a:pt x="0" y="11"/>
                    <a:pt x="2" y="8"/>
                    <a:pt x="7" y="7"/>
                  </a:cubicBezTo>
                  <a:cubicBezTo>
                    <a:pt x="50" y="0"/>
                    <a:pt x="50" y="0"/>
                    <a:pt x="50" y="0"/>
                  </a:cubicBezTo>
                  <a:cubicBezTo>
                    <a:pt x="52" y="0"/>
                    <a:pt x="52" y="0"/>
                    <a:pt x="52" y="0"/>
                  </a:cubicBezTo>
                  <a:cubicBezTo>
                    <a:pt x="56" y="0"/>
                    <a:pt x="58" y="1"/>
                    <a:pt x="58" y="6"/>
                  </a:cubicBezTo>
                  <a:cubicBezTo>
                    <a:pt x="58" y="67"/>
                    <a:pt x="58" y="67"/>
                    <a:pt x="58" y="67"/>
                  </a:cubicBezTo>
                  <a:cubicBezTo>
                    <a:pt x="109" y="67"/>
                    <a:pt x="109" y="67"/>
                    <a:pt x="109" y="67"/>
                  </a:cubicBezTo>
                  <a:cubicBezTo>
                    <a:pt x="112" y="67"/>
                    <a:pt x="115" y="69"/>
                    <a:pt x="115" y="72"/>
                  </a:cubicBezTo>
                  <a:cubicBezTo>
                    <a:pt x="115" y="103"/>
                    <a:pt x="115" y="103"/>
                    <a:pt x="115" y="103"/>
                  </a:cubicBezTo>
                  <a:cubicBezTo>
                    <a:pt x="115" y="106"/>
                    <a:pt x="112" y="108"/>
                    <a:pt x="109" y="108"/>
                  </a:cubicBezTo>
                  <a:cubicBezTo>
                    <a:pt x="58" y="108"/>
                    <a:pt x="58" y="108"/>
                    <a:pt x="58" y="108"/>
                  </a:cubicBezTo>
                  <a:cubicBezTo>
                    <a:pt x="58" y="204"/>
                    <a:pt x="58" y="204"/>
                    <a:pt x="58" y="204"/>
                  </a:cubicBezTo>
                  <a:cubicBezTo>
                    <a:pt x="58" y="219"/>
                    <a:pt x="63" y="228"/>
                    <a:pt x="83" y="228"/>
                  </a:cubicBezTo>
                  <a:cubicBezTo>
                    <a:pt x="94" y="228"/>
                    <a:pt x="104" y="226"/>
                    <a:pt x="110" y="225"/>
                  </a:cubicBezTo>
                  <a:cubicBezTo>
                    <a:pt x="111" y="225"/>
                    <a:pt x="111" y="225"/>
                    <a:pt x="111" y="225"/>
                  </a:cubicBezTo>
                  <a:cubicBezTo>
                    <a:pt x="114" y="225"/>
                    <a:pt x="115" y="226"/>
                    <a:pt x="116" y="229"/>
                  </a:cubicBezTo>
                  <a:cubicBezTo>
                    <a:pt x="121" y="253"/>
                    <a:pt x="121" y="253"/>
                    <a:pt x="121" y="253"/>
                  </a:cubicBezTo>
                  <a:lnTo>
                    <a:pt x="121" y="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2" name="Freeform 11"/>
            <p:cNvSpPr>
              <a:spLocks noEditPoints="1"/>
            </p:cNvSpPr>
            <p:nvPr/>
          </p:nvSpPr>
          <p:spPr bwMode="auto">
            <a:xfrm>
              <a:off x="7083425" y="3248025"/>
              <a:ext cx="384175" cy="422275"/>
            </a:xfrm>
            <a:custGeom>
              <a:avLst/>
              <a:gdLst/>
              <a:ahLst/>
              <a:cxnLst>
                <a:cxn ang="0">
                  <a:pos x="189" y="119"/>
                </a:cxn>
                <a:cxn ang="0">
                  <a:pos x="180" y="129"/>
                </a:cxn>
                <a:cxn ang="0">
                  <a:pos x="58" y="129"/>
                </a:cxn>
                <a:cxn ang="0">
                  <a:pos x="74" y="161"/>
                </a:cxn>
                <a:cxn ang="0">
                  <a:pos x="115" y="170"/>
                </a:cxn>
                <a:cxn ang="0">
                  <a:pos x="167" y="161"/>
                </a:cxn>
                <a:cxn ang="0">
                  <a:pos x="168" y="161"/>
                </a:cxn>
                <a:cxn ang="0">
                  <a:pos x="174" y="167"/>
                </a:cxn>
                <a:cxn ang="0">
                  <a:pos x="179" y="188"/>
                </a:cxn>
                <a:cxn ang="0">
                  <a:pos x="180" y="190"/>
                </a:cxn>
                <a:cxn ang="0">
                  <a:pos x="176" y="196"/>
                </a:cxn>
                <a:cxn ang="0">
                  <a:pos x="105" y="209"/>
                </a:cxn>
                <a:cxn ang="0">
                  <a:pos x="0" y="105"/>
                </a:cxn>
                <a:cxn ang="0">
                  <a:pos x="95" y="0"/>
                </a:cxn>
                <a:cxn ang="0">
                  <a:pos x="171" y="26"/>
                </a:cxn>
                <a:cxn ang="0">
                  <a:pos x="190" y="101"/>
                </a:cxn>
                <a:cxn ang="0">
                  <a:pos x="189" y="119"/>
                </a:cxn>
                <a:cxn ang="0">
                  <a:pos x="132" y="92"/>
                </a:cxn>
                <a:cxn ang="0">
                  <a:pos x="130" y="65"/>
                </a:cxn>
                <a:cxn ang="0">
                  <a:pos x="96" y="38"/>
                </a:cxn>
                <a:cxn ang="0">
                  <a:pos x="60" y="63"/>
                </a:cxn>
                <a:cxn ang="0">
                  <a:pos x="58" y="94"/>
                </a:cxn>
                <a:cxn ang="0">
                  <a:pos x="132" y="94"/>
                </a:cxn>
                <a:cxn ang="0">
                  <a:pos x="132" y="92"/>
                </a:cxn>
              </a:cxnLst>
              <a:rect l="0" t="0" r="r" b="b"/>
              <a:pathLst>
                <a:path w="190" h="209">
                  <a:moveTo>
                    <a:pt x="189" y="119"/>
                  </a:moveTo>
                  <a:cubicBezTo>
                    <a:pt x="189" y="124"/>
                    <a:pt x="187" y="129"/>
                    <a:pt x="180" y="129"/>
                  </a:cubicBezTo>
                  <a:cubicBezTo>
                    <a:pt x="58" y="129"/>
                    <a:pt x="58" y="129"/>
                    <a:pt x="58" y="129"/>
                  </a:cubicBezTo>
                  <a:cubicBezTo>
                    <a:pt x="58" y="145"/>
                    <a:pt x="63" y="154"/>
                    <a:pt x="74" y="161"/>
                  </a:cubicBezTo>
                  <a:cubicBezTo>
                    <a:pt x="83" y="167"/>
                    <a:pt x="96" y="170"/>
                    <a:pt x="115" y="170"/>
                  </a:cubicBezTo>
                  <a:cubicBezTo>
                    <a:pt x="138" y="170"/>
                    <a:pt x="157" y="164"/>
                    <a:pt x="167" y="161"/>
                  </a:cubicBezTo>
                  <a:cubicBezTo>
                    <a:pt x="168" y="161"/>
                    <a:pt x="168" y="161"/>
                    <a:pt x="168" y="161"/>
                  </a:cubicBezTo>
                  <a:cubicBezTo>
                    <a:pt x="171" y="161"/>
                    <a:pt x="173" y="163"/>
                    <a:pt x="174" y="167"/>
                  </a:cubicBezTo>
                  <a:cubicBezTo>
                    <a:pt x="179" y="188"/>
                    <a:pt x="179" y="188"/>
                    <a:pt x="179" y="188"/>
                  </a:cubicBezTo>
                  <a:cubicBezTo>
                    <a:pt x="180" y="189"/>
                    <a:pt x="180" y="189"/>
                    <a:pt x="180" y="190"/>
                  </a:cubicBezTo>
                  <a:cubicBezTo>
                    <a:pt x="180" y="193"/>
                    <a:pt x="178" y="195"/>
                    <a:pt x="176" y="196"/>
                  </a:cubicBezTo>
                  <a:cubicBezTo>
                    <a:pt x="164" y="201"/>
                    <a:pt x="137" y="209"/>
                    <a:pt x="105" y="209"/>
                  </a:cubicBezTo>
                  <a:cubicBezTo>
                    <a:pt x="31" y="209"/>
                    <a:pt x="0" y="182"/>
                    <a:pt x="0" y="105"/>
                  </a:cubicBezTo>
                  <a:cubicBezTo>
                    <a:pt x="0" y="31"/>
                    <a:pt x="22" y="0"/>
                    <a:pt x="95" y="0"/>
                  </a:cubicBezTo>
                  <a:cubicBezTo>
                    <a:pt x="133" y="0"/>
                    <a:pt x="156" y="9"/>
                    <a:pt x="171" y="26"/>
                  </a:cubicBezTo>
                  <a:cubicBezTo>
                    <a:pt x="185" y="43"/>
                    <a:pt x="190" y="68"/>
                    <a:pt x="190" y="101"/>
                  </a:cubicBezTo>
                  <a:cubicBezTo>
                    <a:pt x="190" y="106"/>
                    <a:pt x="189" y="114"/>
                    <a:pt x="189" y="119"/>
                  </a:cubicBezTo>
                  <a:close/>
                  <a:moveTo>
                    <a:pt x="132" y="92"/>
                  </a:moveTo>
                  <a:cubicBezTo>
                    <a:pt x="132" y="81"/>
                    <a:pt x="131" y="73"/>
                    <a:pt x="130" y="65"/>
                  </a:cubicBezTo>
                  <a:cubicBezTo>
                    <a:pt x="125" y="45"/>
                    <a:pt x="115" y="38"/>
                    <a:pt x="96" y="38"/>
                  </a:cubicBezTo>
                  <a:cubicBezTo>
                    <a:pt x="72" y="38"/>
                    <a:pt x="63" y="46"/>
                    <a:pt x="60" y="63"/>
                  </a:cubicBezTo>
                  <a:cubicBezTo>
                    <a:pt x="58" y="73"/>
                    <a:pt x="58" y="82"/>
                    <a:pt x="58" y="94"/>
                  </a:cubicBezTo>
                  <a:cubicBezTo>
                    <a:pt x="132" y="94"/>
                    <a:pt x="132" y="94"/>
                    <a:pt x="132" y="94"/>
                  </a:cubicBezTo>
                  <a:lnTo>
                    <a:pt x="132"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3" name="Freeform 12"/>
            <p:cNvSpPr>
              <a:spLocks/>
            </p:cNvSpPr>
            <p:nvPr/>
          </p:nvSpPr>
          <p:spPr bwMode="auto">
            <a:xfrm>
              <a:off x="7515225" y="3248025"/>
              <a:ext cx="230188" cy="412750"/>
            </a:xfrm>
            <a:custGeom>
              <a:avLst/>
              <a:gdLst/>
              <a:ahLst/>
              <a:cxnLst>
                <a:cxn ang="0">
                  <a:pos x="107" y="43"/>
                </a:cxn>
                <a:cxn ang="0">
                  <a:pos x="59" y="48"/>
                </a:cxn>
                <a:cxn ang="0">
                  <a:pos x="59" y="198"/>
                </a:cxn>
                <a:cxn ang="0">
                  <a:pos x="53" y="204"/>
                </a:cxn>
                <a:cxn ang="0">
                  <a:pos x="6" y="204"/>
                </a:cxn>
                <a:cxn ang="0">
                  <a:pos x="0" y="198"/>
                </a:cxn>
                <a:cxn ang="0">
                  <a:pos x="0" y="32"/>
                </a:cxn>
                <a:cxn ang="0">
                  <a:pos x="17" y="13"/>
                </a:cxn>
                <a:cxn ang="0">
                  <a:pos x="63" y="4"/>
                </a:cxn>
                <a:cxn ang="0">
                  <a:pos x="100" y="0"/>
                </a:cxn>
                <a:cxn ang="0">
                  <a:pos x="103" y="0"/>
                </a:cxn>
                <a:cxn ang="0">
                  <a:pos x="111" y="2"/>
                </a:cxn>
                <a:cxn ang="0">
                  <a:pos x="114" y="8"/>
                </a:cxn>
                <a:cxn ang="0">
                  <a:pos x="114" y="36"/>
                </a:cxn>
                <a:cxn ang="0">
                  <a:pos x="107" y="43"/>
                </a:cxn>
              </a:cxnLst>
              <a:rect l="0" t="0" r="r" b="b"/>
              <a:pathLst>
                <a:path w="114" h="204">
                  <a:moveTo>
                    <a:pt x="107" y="43"/>
                  </a:moveTo>
                  <a:cubicBezTo>
                    <a:pt x="85" y="43"/>
                    <a:pt x="65" y="46"/>
                    <a:pt x="59" y="48"/>
                  </a:cubicBezTo>
                  <a:cubicBezTo>
                    <a:pt x="59" y="198"/>
                    <a:pt x="59" y="198"/>
                    <a:pt x="59" y="198"/>
                  </a:cubicBezTo>
                  <a:cubicBezTo>
                    <a:pt x="59" y="202"/>
                    <a:pt x="56" y="204"/>
                    <a:pt x="53" y="204"/>
                  </a:cubicBezTo>
                  <a:cubicBezTo>
                    <a:pt x="6" y="204"/>
                    <a:pt x="6" y="204"/>
                    <a:pt x="6" y="204"/>
                  </a:cubicBezTo>
                  <a:cubicBezTo>
                    <a:pt x="4" y="204"/>
                    <a:pt x="0" y="202"/>
                    <a:pt x="0" y="198"/>
                  </a:cubicBezTo>
                  <a:cubicBezTo>
                    <a:pt x="0" y="32"/>
                    <a:pt x="0" y="32"/>
                    <a:pt x="0" y="32"/>
                  </a:cubicBezTo>
                  <a:cubicBezTo>
                    <a:pt x="0" y="21"/>
                    <a:pt x="6" y="17"/>
                    <a:pt x="17" y="13"/>
                  </a:cubicBezTo>
                  <a:cubicBezTo>
                    <a:pt x="29" y="9"/>
                    <a:pt x="47" y="6"/>
                    <a:pt x="63" y="4"/>
                  </a:cubicBezTo>
                  <a:cubicBezTo>
                    <a:pt x="74" y="2"/>
                    <a:pt x="87" y="1"/>
                    <a:pt x="100" y="0"/>
                  </a:cubicBezTo>
                  <a:cubicBezTo>
                    <a:pt x="103" y="0"/>
                    <a:pt x="103" y="0"/>
                    <a:pt x="103" y="0"/>
                  </a:cubicBezTo>
                  <a:cubicBezTo>
                    <a:pt x="108" y="0"/>
                    <a:pt x="109" y="1"/>
                    <a:pt x="111" y="2"/>
                  </a:cubicBezTo>
                  <a:cubicBezTo>
                    <a:pt x="112" y="3"/>
                    <a:pt x="114" y="5"/>
                    <a:pt x="114" y="8"/>
                  </a:cubicBezTo>
                  <a:cubicBezTo>
                    <a:pt x="114" y="36"/>
                    <a:pt x="114" y="36"/>
                    <a:pt x="114" y="36"/>
                  </a:cubicBezTo>
                  <a:cubicBezTo>
                    <a:pt x="114" y="40"/>
                    <a:pt x="113" y="43"/>
                    <a:pt x="107"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4" name="Freeform 13"/>
            <p:cNvSpPr>
              <a:spLocks noEditPoints="1"/>
            </p:cNvSpPr>
            <p:nvPr/>
          </p:nvSpPr>
          <p:spPr bwMode="auto">
            <a:xfrm>
              <a:off x="7767638" y="3248025"/>
              <a:ext cx="371475" cy="422275"/>
            </a:xfrm>
            <a:custGeom>
              <a:avLst/>
              <a:gdLst/>
              <a:ahLst/>
              <a:cxnLst>
                <a:cxn ang="0">
                  <a:pos x="147" y="204"/>
                </a:cxn>
                <a:cxn ang="0">
                  <a:pos x="93" y="209"/>
                </a:cxn>
                <a:cxn ang="0">
                  <a:pos x="0" y="144"/>
                </a:cxn>
                <a:cxn ang="0">
                  <a:pos x="59" y="85"/>
                </a:cxn>
                <a:cxn ang="0">
                  <a:pos x="125" y="74"/>
                </a:cxn>
                <a:cxn ang="0">
                  <a:pos x="125" y="64"/>
                </a:cxn>
                <a:cxn ang="0">
                  <a:pos x="116" y="43"/>
                </a:cxn>
                <a:cxn ang="0">
                  <a:pos x="89" y="40"/>
                </a:cxn>
                <a:cxn ang="0">
                  <a:pos x="25" y="50"/>
                </a:cxn>
                <a:cxn ang="0">
                  <a:pos x="23" y="51"/>
                </a:cxn>
                <a:cxn ang="0">
                  <a:pos x="19" y="47"/>
                </a:cxn>
                <a:cxn ang="0">
                  <a:pos x="13" y="21"/>
                </a:cxn>
                <a:cxn ang="0">
                  <a:pos x="13" y="19"/>
                </a:cxn>
                <a:cxn ang="0">
                  <a:pos x="17" y="13"/>
                </a:cxn>
                <a:cxn ang="0">
                  <a:pos x="102" y="0"/>
                </a:cxn>
                <a:cxn ang="0">
                  <a:pos x="159" y="11"/>
                </a:cxn>
                <a:cxn ang="0">
                  <a:pos x="184" y="60"/>
                </a:cxn>
                <a:cxn ang="0">
                  <a:pos x="184" y="164"/>
                </a:cxn>
                <a:cxn ang="0">
                  <a:pos x="147" y="204"/>
                </a:cxn>
                <a:cxn ang="0">
                  <a:pos x="126" y="109"/>
                </a:cxn>
                <a:cxn ang="0">
                  <a:pos x="85" y="116"/>
                </a:cxn>
                <a:cxn ang="0">
                  <a:pos x="58" y="143"/>
                </a:cxn>
                <a:cxn ang="0">
                  <a:pos x="94" y="172"/>
                </a:cxn>
                <a:cxn ang="0">
                  <a:pos x="126" y="168"/>
                </a:cxn>
                <a:cxn ang="0">
                  <a:pos x="126" y="109"/>
                </a:cxn>
              </a:cxnLst>
              <a:rect l="0" t="0" r="r" b="b"/>
              <a:pathLst>
                <a:path w="184" h="209">
                  <a:moveTo>
                    <a:pt x="147" y="204"/>
                  </a:moveTo>
                  <a:cubicBezTo>
                    <a:pt x="133" y="207"/>
                    <a:pt x="115" y="209"/>
                    <a:pt x="93" y="209"/>
                  </a:cubicBezTo>
                  <a:cubicBezTo>
                    <a:pt x="49" y="209"/>
                    <a:pt x="0" y="203"/>
                    <a:pt x="0" y="144"/>
                  </a:cubicBezTo>
                  <a:cubicBezTo>
                    <a:pt x="0" y="95"/>
                    <a:pt x="31" y="89"/>
                    <a:pt x="59" y="85"/>
                  </a:cubicBezTo>
                  <a:cubicBezTo>
                    <a:pt x="125" y="74"/>
                    <a:pt x="125" y="74"/>
                    <a:pt x="125" y="74"/>
                  </a:cubicBezTo>
                  <a:cubicBezTo>
                    <a:pt x="125" y="64"/>
                    <a:pt x="125" y="64"/>
                    <a:pt x="125" y="64"/>
                  </a:cubicBezTo>
                  <a:cubicBezTo>
                    <a:pt x="125" y="54"/>
                    <a:pt x="124" y="47"/>
                    <a:pt x="116" y="43"/>
                  </a:cubicBezTo>
                  <a:cubicBezTo>
                    <a:pt x="111" y="41"/>
                    <a:pt x="102" y="40"/>
                    <a:pt x="89" y="40"/>
                  </a:cubicBezTo>
                  <a:cubicBezTo>
                    <a:pt x="65" y="40"/>
                    <a:pt x="36" y="48"/>
                    <a:pt x="25" y="50"/>
                  </a:cubicBezTo>
                  <a:cubicBezTo>
                    <a:pt x="25" y="50"/>
                    <a:pt x="24" y="51"/>
                    <a:pt x="23" y="51"/>
                  </a:cubicBezTo>
                  <a:cubicBezTo>
                    <a:pt x="21" y="51"/>
                    <a:pt x="19" y="49"/>
                    <a:pt x="19" y="47"/>
                  </a:cubicBezTo>
                  <a:cubicBezTo>
                    <a:pt x="13" y="21"/>
                    <a:pt x="13" y="21"/>
                    <a:pt x="13" y="21"/>
                  </a:cubicBezTo>
                  <a:cubicBezTo>
                    <a:pt x="13" y="20"/>
                    <a:pt x="13" y="20"/>
                    <a:pt x="13" y="19"/>
                  </a:cubicBezTo>
                  <a:cubicBezTo>
                    <a:pt x="13" y="16"/>
                    <a:pt x="15" y="14"/>
                    <a:pt x="17" y="13"/>
                  </a:cubicBezTo>
                  <a:cubicBezTo>
                    <a:pt x="25" y="10"/>
                    <a:pt x="61" y="0"/>
                    <a:pt x="102" y="0"/>
                  </a:cubicBezTo>
                  <a:cubicBezTo>
                    <a:pt x="128" y="0"/>
                    <a:pt x="147" y="4"/>
                    <a:pt x="159" y="11"/>
                  </a:cubicBezTo>
                  <a:cubicBezTo>
                    <a:pt x="178" y="21"/>
                    <a:pt x="184" y="38"/>
                    <a:pt x="184" y="60"/>
                  </a:cubicBezTo>
                  <a:cubicBezTo>
                    <a:pt x="184" y="164"/>
                    <a:pt x="184" y="164"/>
                    <a:pt x="184" y="164"/>
                  </a:cubicBezTo>
                  <a:cubicBezTo>
                    <a:pt x="184" y="193"/>
                    <a:pt x="173" y="198"/>
                    <a:pt x="147" y="204"/>
                  </a:cubicBezTo>
                  <a:close/>
                  <a:moveTo>
                    <a:pt x="126" y="109"/>
                  </a:moveTo>
                  <a:cubicBezTo>
                    <a:pt x="85" y="116"/>
                    <a:pt x="85" y="116"/>
                    <a:pt x="85" y="116"/>
                  </a:cubicBezTo>
                  <a:cubicBezTo>
                    <a:pt x="71" y="118"/>
                    <a:pt x="58" y="120"/>
                    <a:pt x="58" y="143"/>
                  </a:cubicBezTo>
                  <a:cubicBezTo>
                    <a:pt x="58" y="170"/>
                    <a:pt x="79" y="172"/>
                    <a:pt x="94" y="172"/>
                  </a:cubicBezTo>
                  <a:cubicBezTo>
                    <a:pt x="108" y="172"/>
                    <a:pt x="121" y="169"/>
                    <a:pt x="126" y="168"/>
                  </a:cubicBezTo>
                  <a:lnTo>
                    <a:pt x="126"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15" name="Freeform 14"/>
            <p:cNvSpPr>
              <a:spLocks noEditPoints="1"/>
            </p:cNvSpPr>
            <p:nvPr/>
          </p:nvSpPr>
          <p:spPr bwMode="auto">
            <a:xfrm>
              <a:off x="4910138" y="2455863"/>
              <a:ext cx="1085850" cy="919162"/>
            </a:xfrm>
            <a:custGeom>
              <a:avLst/>
              <a:gdLst/>
              <a:ahLst/>
              <a:cxnLst>
                <a:cxn ang="0">
                  <a:pos x="470" y="238"/>
                </a:cxn>
                <a:cxn ang="0">
                  <a:pos x="497" y="67"/>
                </a:cxn>
                <a:cxn ang="0">
                  <a:pos x="326" y="39"/>
                </a:cxn>
                <a:cxn ang="0">
                  <a:pos x="220" y="250"/>
                </a:cxn>
                <a:cxn ang="0">
                  <a:pos x="50" y="276"/>
                </a:cxn>
                <a:cxn ang="0">
                  <a:pos x="29" y="404"/>
                </a:cxn>
                <a:cxn ang="0">
                  <a:pos x="158" y="425"/>
                </a:cxn>
                <a:cxn ang="0">
                  <a:pos x="235" y="272"/>
                </a:cxn>
                <a:cxn ang="0">
                  <a:pos x="470" y="238"/>
                </a:cxn>
                <a:cxn ang="0">
                  <a:pos x="295" y="137"/>
                </a:cxn>
                <a:cxn ang="0">
                  <a:pos x="381" y="151"/>
                </a:cxn>
                <a:cxn ang="0">
                  <a:pos x="367" y="237"/>
                </a:cxn>
                <a:cxn ang="0">
                  <a:pos x="242" y="254"/>
                </a:cxn>
                <a:cxn ang="0">
                  <a:pos x="238" y="254"/>
                </a:cxn>
                <a:cxn ang="0">
                  <a:pos x="239" y="250"/>
                </a:cxn>
                <a:cxn ang="0">
                  <a:pos x="295" y="137"/>
                </a:cxn>
                <a:cxn ang="0">
                  <a:pos x="175" y="356"/>
                </a:cxn>
                <a:cxn ang="0">
                  <a:pos x="110" y="346"/>
                </a:cxn>
                <a:cxn ang="0">
                  <a:pos x="121" y="281"/>
                </a:cxn>
                <a:cxn ang="0">
                  <a:pos x="214" y="268"/>
                </a:cxn>
                <a:cxn ang="0">
                  <a:pos x="218" y="268"/>
                </a:cxn>
                <a:cxn ang="0">
                  <a:pos x="217" y="272"/>
                </a:cxn>
                <a:cxn ang="0">
                  <a:pos x="175" y="356"/>
                </a:cxn>
              </a:cxnLst>
              <a:rect l="0" t="0" r="r" b="b"/>
              <a:pathLst>
                <a:path w="537" h="455">
                  <a:moveTo>
                    <a:pt x="470" y="238"/>
                  </a:moveTo>
                  <a:cubicBezTo>
                    <a:pt x="524" y="198"/>
                    <a:pt x="537" y="122"/>
                    <a:pt x="497" y="67"/>
                  </a:cubicBezTo>
                  <a:cubicBezTo>
                    <a:pt x="458" y="12"/>
                    <a:pt x="381" y="0"/>
                    <a:pt x="326" y="39"/>
                  </a:cubicBezTo>
                  <a:cubicBezTo>
                    <a:pt x="283" y="71"/>
                    <a:pt x="237" y="199"/>
                    <a:pt x="220" y="250"/>
                  </a:cubicBezTo>
                  <a:cubicBezTo>
                    <a:pt x="176" y="251"/>
                    <a:pt x="81" y="253"/>
                    <a:pt x="50" y="276"/>
                  </a:cubicBezTo>
                  <a:cubicBezTo>
                    <a:pt x="9" y="306"/>
                    <a:pt x="0" y="363"/>
                    <a:pt x="29" y="404"/>
                  </a:cubicBezTo>
                  <a:cubicBezTo>
                    <a:pt x="59" y="445"/>
                    <a:pt x="116" y="455"/>
                    <a:pt x="158" y="425"/>
                  </a:cubicBezTo>
                  <a:cubicBezTo>
                    <a:pt x="189" y="402"/>
                    <a:pt x="222" y="313"/>
                    <a:pt x="235" y="272"/>
                  </a:cubicBezTo>
                  <a:cubicBezTo>
                    <a:pt x="289" y="272"/>
                    <a:pt x="426" y="269"/>
                    <a:pt x="470" y="238"/>
                  </a:cubicBezTo>
                  <a:close/>
                  <a:moveTo>
                    <a:pt x="295" y="137"/>
                  </a:moveTo>
                  <a:cubicBezTo>
                    <a:pt x="322" y="117"/>
                    <a:pt x="361" y="123"/>
                    <a:pt x="381" y="151"/>
                  </a:cubicBezTo>
                  <a:cubicBezTo>
                    <a:pt x="401" y="178"/>
                    <a:pt x="395" y="217"/>
                    <a:pt x="367" y="237"/>
                  </a:cubicBezTo>
                  <a:cubicBezTo>
                    <a:pt x="343" y="255"/>
                    <a:pt x="261" y="254"/>
                    <a:pt x="242" y="254"/>
                  </a:cubicBezTo>
                  <a:cubicBezTo>
                    <a:pt x="239" y="254"/>
                    <a:pt x="238" y="254"/>
                    <a:pt x="238" y="254"/>
                  </a:cubicBezTo>
                  <a:cubicBezTo>
                    <a:pt x="238" y="254"/>
                    <a:pt x="238" y="253"/>
                    <a:pt x="239" y="250"/>
                  </a:cubicBezTo>
                  <a:cubicBezTo>
                    <a:pt x="245" y="232"/>
                    <a:pt x="270" y="154"/>
                    <a:pt x="295" y="137"/>
                  </a:cubicBezTo>
                  <a:close/>
                  <a:moveTo>
                    <a:pt x="175" y="356"/>
                  </a:moveTo>
                  <a:cubicBezTo>
                    <a:pt x="154" y="371"/>
                    <a:pt x="125" y="367"/>
                    <a:pt x="110" y="346"/>
                  </a:cubicBezTo>
                  <a:cubicBezTo>
                    <a:pt x="95" y="325"/>
                    <a:pt x="100" y="296"/>
                    <a:pt x="121" y="281"/>
                  </a:cubicBezTo>
                  <a:cubicBezTo>
                    <a:pt x="139" y="268"/>
                    <a:pt x="198" y="268"/>
                    <a:pt x="214" y="268"/>
                  </a:cubicBezTo>
                  <a:cubicBezTo>
                    <a:pt x="216" y="268"/>
                    <a:pt x="218" y="268"/>
                    <a:pt x="218" y="268"/>
                  </a:cubicBezTo>
                  <a:cubicBezTo>
                    <a:pt x="218" y="268"/>
                    <a:pt x="218" y="270"/>
                    <a:pt x="217" y="272"/>
                  </a:cubicBezTo>
                  <a:cubicBezTo>
                    <a:pt x="212" y="288"/>
                    <a:pt x="193" y="343"/>
                    <a:pt x="175" y="3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grpSp>
    </p:spTree>
    <p:extLst>
      <p:ext uri="{BB962C8B-B14F-4D97-AF65-F5344CB8AC3E}">
        <p14:creationId xmlns:p14="http://schemas.microsoft.com/office/powerpoint/2010/main" val="906925539"/>
      </p:ext>
    </p:extLst>
  </p:cSld>
  <p:clrMapOvr>
    <a:masterClrMapping/>
  </p:clrMapOvr>
  <p:transition xmlns:p14="http://schemas.microsoft.com/office/powerpoint/2010/mai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90726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205740"/>
            <a:ext cx="8555038" cy="569214"/>
          </a:xfrm>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hasCustomPrompt="1"/>
          </p:nvPr>
        </p:nvSpPr>
        <p:spPr>
          <a:xfrm>
            <a:off x="228600" y="966978"/>
            <a:ext cx="3977640" cy="3707416"/>
          </a:xfrm>
        </p:spPr>
        <p:txBody>
          <a:bodyPr/>
          <a:lstStyle>
            <a:lvl1pPr>
              <a:defRPr sz="1125">
                <a:solidFill>
                  <a:schemeClr val="bg1"/>
                </a:solidFill>
              </a:defRPr>
            </a:lvl1pPr>
            <a:lvl2pPr>
              <a:defRPr sz="975">
                <a:solidFill>
                  <a:schemeClr val="bg1"/>
                </a:solidFill>
              </a:defRPr>
            </a:lvl2pPr>
            <a:lvl3pPr>
              <a:defRPr sz="900">
                <a:solidFill>
                  <a:schemeClr val="bg1"/>
                </a:solidFill>
              </a:defRPr>
            </a:lvl3pPr>
            <a:lvl4pPr>
              <a:defRPr sz="825">
                <a:solidFill>
                  <a:schemeClr val="bg1"/>
                </a:solidFill>
              </a:defRPr>
            </a:lvl4pPr>
            <a:lvl5pPr>
              <a:defRPr sz="825">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805998" y="966978"/>
            <a:ext cx="3977640" cy="3707416"/>
          </a:xfrm>
        </p:spPr>
        <p:txBody>
          <a:bodyPr/>
          <a:lstStyle>
            <a:lvl1pPr>
              <a:defRPr sz="1125">
                <a:solidFill>
                  <a:schemeClr val="bg1"/>
                </a:solidFill>
              </a:defRPr>
            </a:lvl1pPr>
            <a:lvl2pPr>
              <a:defRPr sz="975">
                <a:solidFill>
                  <a:schemeClr val="bg1"/>
                </a:solidFill>
              </a:defRPr>
            </a:lvl2pPr>
            <a:lvl3pPr>
              <a:defRPr sz="900">
                <a:solidFill>
                  <a:schemeClr val="bg1"/>
                </a:solidFill>
              </a:defRPr>
            </a:lvl3pPr>
            <a:lvl4pPr>
              <a:defRPr sz="825">
                <a:solidFill>
                  <a:schemeClr val="bg1"/>
                </a:solidFill>
              </a:defRPr>
            </a:lvl4pPr>
            <a:lvl5pPr>
              <a:defRPr sz="825">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endParaRPr lang="en-US">
              <a:solidFill>
                <a:srgbClr val="B4B4B4"/>
              </a:solidFill>
            </a:endParaRPr>
          </a:p>
        </p:txBody>
      </p:sp>
      <p:sp>
        <p:nvSpPr>
          <p:cNvPr id="7" name="Slide Number Placeholder 6"/>
          <p:cNvSpPr>
            <a:spLocks noGrp="1"/>
          </p:cNvSpPr>
          <p:nvPr>
            <p:ph type="sldNum" sz="quarter" idx="12"/>
          </p:nvPr>
        </p:nvSpPr>
        <p:spPr/>
        <p:txBody>
          <a:bodyPr/>
          <a:lstStyle/>
          <a:p>
            <a:fld id="{52BB5B38-2141-4D75-B405-23F83BDD5945}" type="slidenum">
              <a:rPr lang="en-US" smtClean="0">
                <a:solidFill>
                  <a:srgbClr val="B4B4B4"/>
                </a:solidFill>
              </a:rPr>
              <a:pPr/>
              <a:t>‹#›</a:t>
            </a:fld>
            <a:endParaRPr lang="en-US">
              <a:solidFill>
                <a:srgbClr val="B4B4B4"/>
              </a:solidFill>
            </a:endParaRPr>
          </a:p>
        </p:txBody>
      </p:sp>
      <p:grpSp>
        <p:nvGrpSpPr>
          <p:cNvPr id="35" name="Group 7"/>
          <p:cNvGrpSpPr>
            <a:grpSpLocks noChangeAspect="1"/>
          </p:cNvGrpSpPr>
          <p:nvPr userDrawn="1"/>
        </p:nvGrpSpPr>
        <p:grpSpPr>
          <a:xfrm>
            <a:off x="336180" y="4872435"/>
            <a:ext cx="689616" cy="194526"/>
            <a:chOff x="4910138" y="2455863"/>
            <a:chExt cx="3228975" cy="1214437"/>
          </a:xfrm>
          <a:solidFill>
            <a:schemeClr val="tx1"/>
          </a:solidFill>
        </p:grpSpPr>
        <p:sp>
          <p:nvSpPr>
            <p:cNvPr id="36" name="Freeform 35"/>
            <p:cNvSpPr>
              <a:spLocks/>
            </p:cNvSpPr>
            <p:nvPr/>
          </p:nvSpPr>
          <p:spPr bwMode="auto">
            <a:xfrm>
              <a:off x="5408613" y="3094038"/>
              <a:ext cx="492125" cy="566737"/>
            </a:xfrm>
            <a:custGeom>
              <a:avLst/>
              <a:gdLst/>
              <a:ahLst/>
              <a:cxnLst>
                <a:cxn ang="0">
                  <a:pos x="243" y="274"/>
                </a:cxn>
                <a:cxn ang="0">
                  <a:pos x="238" y="280"/>
                </a:cxn>
                <a:cxn ang="0">
                  <a:pos x="174" y="280"/>
                </a:cxn>
                <a:cxn ang="0">
                  <a:pos x="166" y="276"/>
                </a:cxn>
                <a:cxn ang="0">
                  <a:pos x="81" y="162"/>
                </a:cxn>
                <a:cxn ang="0">
                  <a:pos x="63" y="162"/>
                </a:cxn>
                <a:cxn ang="0">
                  <a:pos x="63" y="274"/>
                </a:cxn>
                <a:cxn ang="0">
                  <a:pos x="57" y="280"/>
                </a:cxn>
                <a:cxn ang="0">
                  <a:pos x="6" y="280"/>
                </a:cxn>
                <a:cxn ang="0">
                  <a:pos x="0" y="274"/>
                </a:cxn>
                <a:cxn ang="0">
                  <a:pos x="0" y="5"/>
                </a:cxn>
                <a:cxn ang="0">
                  <a:pos x="6" y="0"/>
                </a:cxn>
                <a:cxn ang="0">
                  <a:pos x="57" y="0"/>
                </a:cxn>
                <a:cxn ang="0">
                  <a:pos x="63" y="5"/>
                </a:cxn>
                <a:cxn ang="0">
                  <a:pos x="63" y="116"/>
                </a:cxn>
                <a:cxn ang="0">
                  <a:pos x="81" y="116"/>
                </a:cxn>
                <a:cxn ang="0">
                  <a:pos x="163" y="3"/>
                </a:cxn>
                <a:cxn ang="0">
                  <a:pos x="169" y="0"/>
                </a:cxn>
                <a:cxn ang="0">
                  <a:pos x="170" y="0"/>
                </a:cxn>
                <a:cxn ang="0">
                  <a:pos x="230" y="0"/>
                </a:cxn>
                <a:cxn ang="0">
                  <a:pos x="235" y="6"/>
                </a:cxn>
                <a:cxn ang="0">
                  <a:pos x="234" y="9"/>
                </a:cxn>
                <a:cxn ang="0">
                  <a:pos x="134" y="137"/>
                </a:cxn>
                <a:cxn ang="0">
                  <a:pos x="242" y="271"/>
                </a:cxn>
                <a:cxn ang="0">
                  <a:pos x="243" y="274"/>
                </a:cxn>
              </a:cxnLst>
              <a:rect l="0" t="0" r="r" b="b"/>
              <a:pathLst>
                <a:path w="243" h="280">
                  <a:moveTo>
                    <a:pt x="243" y="274"/>
                  </a:moveTo>
                  <a:cubicBezTo>
                    <a:pt x="243" y="277"/>
                    <a:pt x="240" y="280"/>
                    <a:pt x="238" y="280"/>
                  </a:cubicBezTo>
                  <a:cubicBezTo>
                    <a:pt x="174" y="280"/>
                    <a:pt x="174" y="280"/>
                    <a:pt x="174" y="280"/>
                  </a:cubicBezTo>
                  <a:cubicBezTo>
                    <a:pt x="170" y="280"/>
                    <a:pt x="167" y="278"/>
                    <a:pt x="166" y="276"/>
                  </a:cubicBezTo>
                  <a:cubicBezTo>
                    <a:pt x="81" y="162"/>
                    <a:pt x="81" y="162"/>
                    <a:pt x="81" y="162"/>
                  </a:cubicBezTo>
                  <a:cubicBezTo>
                    <a:pt x="63" y="162"/>
                    <a:pt x="63" y="162"/>
                    <a:pt x="63" y="162"/>
                  </a:cubicBezTo>
                  <a:cubicBezTo>
                    <a:pt x="63" y="274"/>
                    <a:pt x="63" y="274"/>
                    <a:pt x="63" y="274"/>
                  </a:cubicBezTo>
                  <a:cubicBezTo>
                    <a:pt x="63" y="278"/>
                    <a:pt x="60" y="280"/>
                    <a:pt x="57" y="280"/>
                  </a:cubicBezTo>
                  <a:cubicBezTo>
                    <a:pt x="6" y="280"/>
                    <a:pt x="6" y="280"/>
                    <a:pt x="6" y="280"/>
                  </a:cubicBezTo>
                  <a:cubicBezTo>
                    <a:pt x="3" y="280"/>
                    <a:pt x="0" y="278"/>
                    <a:pt x="0" y="274"/>
                  </a:cubicBezTo>
                  <a:cubicBezTo>
                    <a:pt x="0" y="5"/>
                    <a:pt x="0" y="5"/>
                    <a:pt x="0" y="5"/>
                  </a:cubicBezTo>
                  <a:cubicBezTo>
                    <a:pt x="0" y="2"/>
                    <a:pt x="3" y="0"/>
                    <a:pt x="6" y="0"/>
                  </a:cubicBezTo>
                  <a:cubicBezTo>
                    <a:pt x="57" y="0"/>
                    <a:pt x="57" y="0"/>
                    <a:pt x="57" y="0"/>
                  </a:cubicBezTo>
                  <a:cubicBezTo>
                    <a:pt x="60" y="0"/>
                    <a:pt x="63" y="2"/>
                    <a:pt x="63" y="5"/>
                  </a:cubicBezTo>
                  <a:cubicBezTo>
                    <a:pt x="63" y="116"/>
                    <a:pt x="63" y="116"/>
                    <a:pt x="63" y="116"/>
                  </a:cubicBezTo>
                  <a:cubicBezTo>
                    <a:pt x="81" y="116"/>
                    <a:pt x="81" y="116"/>
                    <a:pt x="81" y="116"/>
                  </a:cubicBezTo>
                  <a:cubicBezTo>
                    <a:pt x="163" y="3"/>
                    <a:pt x="163" y="3"/>
                    <a:pt x="163" y="3"/>
                  </a:cubicBezTo>
                  <a:cubicBezTo>
                    <a:pt x="165" y="1"/>
                    <a:pt x="166" y="0"/>
                    <a:pt x="169" y="0"/>
                  </a:cubicBezTo>
                  <a:cubicBezTo>
                    <a:pt x="170" y="0"/>
                    <a:pt x="170" y="0"/>
                    <a:pt x="170" y="0"/>
                  </a:cubicBezTo>
                  <a:cubicBezTo>
                    <a:pt x="230" y="0"/>
                    <a:pt x="230" y="0"/>
                    <a:pt x="230" y="0"/>
                  </a:cubicBezTo>
                  <a:cubicBezTo>
                    <a:pt x="232" y="0"/>
                    <a:pt x="235" y="3"/>
                    <a:pt x="235" y="6"/>
                  </a:cubicBezTo>
                  <a:cubicBezTo>
                    <a:pt x="235" y="7"/>
                    <a:pt x="234" y="8"/>
                    <a:pt x="234" y="9"/>
                  </a:cubicBezTo>
                  <a:cubicBezTo>
                    <a:pt x="134" y="137"/>
                    <a:pt x="134" y="137"/>
                    <a:pt x="134" y="137"/>
                  </a:cubicBezTo>
                  <a:cubicBezTo>
                    <a:pt x="242" y="271"/>
                    <a:pt x="242" y="271"/>
                    <a:pt x="242" y="271"/>
                  </a:cubicBezTo>
                  <a:cubicBezTo>
                    <a:pt x="242" y="272"/>
                    <a:pt x="243" y="273"/>
                    <a:pt x="243"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7" name="Freeform 36"/>
            <p:cNvSpPr>
              <a:spLocks noEditPoints="1"/>
            </p:cNvSpPr>
            <p:nvPr/>
          </p:nvSpPr>
          <p:spPr bwMode="auto">
            <a:xfrm>
              <a:off x="5903913" y="3248025"/>
              <a:ext cx="390525" cy="422275"/>
            </a:xfrm>
            <a:custGeom>
              <a:avLst/>
              <a:gdLst/>
              <a:ahLst/>
              <a:cxnLst>
                <a:cxn ang="0">
                  <a:pos x="97" y="209"/>
                </a:cxn>
                <a:cxn ang="0">
                  <a:pos x="0" y="104"/>
                </a:cxn>
                <a:cxn ang="0">
                  <a:pos x="97" y="0"/>
                </a:cxn>
                <a:cxn ang="0">
                  <a:pos x="193" y="104"/>
                </a:cxn>
                <a:cxn ang="0">
                  <a:pos x="97" y="209"/>
                </a:cxn>
                <a:cxn ang="0">
                  <a:pos x="97" y="39"/>
                </a:cxn>
                <a:cxn ang="0">
                  <a:pos x="60" y="104"/>
                </a:cxn>
                <a:cxn ang="0">
                  <a:pos x="97" y="169"/>
                </a:cxn>
                <a:cxn ang="0">
                  <a:pos x="133" y="104"/>
                </a:cxn>
                <a:cxn ang="0">
                  <a:pos x="97" y="39"/>
                </a:cxn>
              </a:cxnLst>
              <a:rect l="0" t="0" r="r" b="b"/>
              <a:pathLst>
                <a:path w="193" h="209">
                  <a:moveTo>
                    <a:pt x="97" y="209"/>
                  </a:moveTo>
                  <a:cubicBezTo>
                    <a:pt x="11" y="209"/>
                    <a:pt x="0" y="163"/>
                    <a:pt x="0" y="104"/>
                  </a:cubicBezTo>
                  <a:cubicBezTo>
                    <a:pt x="0" y="46"/>
                    <a:pt x="11" y="0"/>
                    <a:pt x="97" y="0"/>
                  </a:cubicBezTo>
                  <a:cubicBezTo>
                    <a:pt x="182" y="0"/>
                    <a:pt x="193" y="46"/>
                    <a:pt x="193" y="104"/>
                  </a:cubicBezTo>
                  <a:cubicBezTo>
                    <a:pt x="193" y="163"/>
                    <a:pt x="182" y="209"/>
                    <a:pt x="97" y="209"/>
                  </a:cubicBezTo>
                  <a:close/>
                  <a:moveTo>
                    <a:pt x="97" y="39"/>
                  </a:moveTo>
                  <a:cubicBezTo>
                    <a:pt x="61" y="39"/>
                    <a:pt x="60" y="60"/>
                    <a:pt x="60" y="104"/>
                  </a:cubicBezTo>
                  <a:cubicBezTo>
                    <a:pt x="60" y="149"/>
                    <a:pt x="61" y="169"/>
                    <a:pt x="97" y="169"/>
                  </a:cubicBezTo>
                  <a:cubicBezTo>
                    <a:pt x="132" y="169"/>
                    <a:pt x="133" y="149"/>
                    <a:pt x="133" y="104"/>
                  </a:cubicBezTo>
                  <a:cubicBezTo>
                    <a:pt x="133" y="60"/>
                    <a:pt x="132" y="39"/>
                    <a:pt x="97"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8" name="Freeform 37"/>
            <p:cNvSpPr>
              <a:spLocks/>
            </p:cNvSpPr>
            <p:nvPr/>
          </p:nvSpPr>
          <p:spPr bwMode="auto">
            <a:xfrm>
              <a:off x="6359525" y="3248025"/>
              <a:ext cx="366713" cy="412750"/>
            </a:xfrm>
            <a:custGeom>
              <a:avLst/>
              <a:gdLst/>
              <a:ahLst/>
              <a:cxnLst>
                <a:cxn ang="0">
                  <a:pos x="175" y="204"/>
                </a:cxn>
                <a:cxn ang="0">
                  <a:pos x="129" y="204"/>
                </a:cxn>
                <a:cxn ang="0">
                  <a:pos x="122" y="198"/>
                </a:cxn>
                <a:cxn ang="0">
                  <a:pos x="122" y="67"/>
                </a:cxn>
                <a:cxn ang="0">
                  <a:pos x="96" y="39"/>
                </a:cxn>
                <a:cxn ang="0">
                  <a:pos x="58" y="44"/>
                </a:cxn>
                <a:cxn ang="0">
                  <a:pos x="58" y="198"/>
                </a:cxn>
                <a:cxn ang="0">
                  <a:pos x="52" y="204"/>
                </a:cxn>
                <a:cxn ang="0">
                  <a:pos x="6" y="204"/>
                </a:cxn>
                <a:cxn ang="0">
                  <a:pos x="0" y="198"/>
                </a:cxn>
                <a:cxn ang="0">
                  <a:pos x="0" y="33"/>
                </a:cxn>
                <a:cxn ang="0">
                  <a:pos x="31" y="9"/>
                </a:cxn>
                <a:cxn ang="0">
                  <a:pos x="104" y="0"/>
                </a:cxn>
                <a:cxn ang="0">
                  <a:pos x="181" y="59"/>
                </a:cxn>
                <a:cxn ang="0">
                  <a:pos x="181" y="198"/>
                </a:cxn>
                <a:cxn ang="0">
                  <a:pos x="175" y="204"/>
                </a:cxn>
              </a:cxnLst>
              <a:rect l="0" t="0" r="r" b="b"/>
              <a:pathLst>
                <a:path w="181" h="204">
                  <a:moveTo>
                    <a:pt x="175" y="204"/>
                  </a:moveTo>
                  <a:cubicBezTo>
                    <a:pt x="129" y="204"/>
                    <a:pt x="129" y="204"/>
                    <a:pt x="129" y="204"/>
                  </a:cubicBezTo>
                  <a:cubicBezTo>
                    <a:pt x="125" y="204"/>
                    <a:pt x="122" y="202"/>
                    <a:pt x="122" y="198"/>
                  </a:cubicBezTo>
                  <a:cubicBezTo>
                    <a:pt x="122" y="67"/>
                    <a:pt x="122" y="67"/>
                    <a:pt x="122" y="67"/>
                  </a:cubicBezTo>
                  <a:cubicBezTo>
                    <a:pt x="122" y="46"/>
                    <a:pt x="114" y="39"/>
                    <a:pt x="96" y="39"/>
                  </a:cubicBezTo>
                  <a:cubicBezTo>
                    <a:pt x="78" y="39"/>
                    <a:pt x="58" y="44"/>
                    <a:pt x="58" y="44"/>
                  </a:cubicBezTo>
                  <a:cubicBezTo>
                    <a:pt x="58" y="198"/>
                    <a:pt x="58" y="198"/>
                    <a:pt x="58" y="198"/>
                  </a:cubicBezTo>
                  <a:cubicBezTo>
                    <a:pt x="58" y="202"/>
                    <a:pt x="56" y="204"/>
                    <a:pt x="52" y="204"/>
                  </a:cubicBezTo>
                  <a:cubicBezTo>
                    <a:pt x="6" y="204"/>
                    <a:pt x="6" y="204"/>
                    <a:pt x="6" y="204"/>
                  </a:cubicBezTo>
                  <a:cubicBezTo>
                    <a:pt x="2" y="204"/>
                    <a:pt x="0" y="202"/>
                    <a:pt x="0" y="198"/>
                  </a:cubicBezTo>
                  <a:cubicBezTo>
                    <a:pt x="0" y="33"/>
                    <a:pt x="0" y="33"/>
                    <a:pt x="0" y="33"/>
                  </a:cubicBezTo>
                  <a:cubicBezTo>
                    <a:pt x="0" y="18"/>
                    <a:pt x="9" y="14"/>
                    <a:pt x="31" y="9"/>
                  </a:cubicBezTo>
                  <a:cubicBezTo>
                    <a:pt x="50" y="4"/>
                    <a:pt x="80" y="0"/>
                    <a:pt x="104" y="0"/>
                  </a:cubicBezTo>
                  <a:cubicBezTo>
                    <a:pt x="152" y="0"/>
                    <a:pt x="181" y="11"/>
                    <a:pt x="181" y="59"/>
                  </a:cubicBezTo>
                  <a:cubicBezTo>
                    <a:pt x="181" y="198"/>
                    <a:pt x="181" y="198"/>
                    <a:pt x="181" y="198"/>
                  </a:cubicBezTo>
                  <a:cubicBezTo>
                    <a:pt x="181" y="202"/>
                    <a:pt x="178" y="204"/>
                    <a:pt x="175" y="2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9" name="Freeform 38"/>
            <p:cNvSpPr>
              <a:spLocks/>
            </p:cNvSpPr>
            <p:nvPr/>
          </p:nvSpPr>
          <p:spPr bwMode="auto">
            <a:xfrm>
              <a:off x="6804025" y="3122613"/>
              <a:ext cx="246063" cy="542925"/>
            </a:xfrm>
            <a:custGeom>
              <a:avLst/>
              <a:gdLst/>
              <a:ahLst/>
              <a:cxnLst>
                <a:cxn ang="0">
                  <a:pos x="121" y="256"/>
                </a:cxn>
                <a:cxn ang="0">
                  <a:pos x="116" y="262"/>
                </a:cxn>
                <a:cxn ang="0">
                  <a:pos x="68" y="269"/>
                </a:cxn>
                <a:cxn ang="0">
                  <a:pos x="0" y="207"/>
                </a:cxn>
                <a:cxn ang="0">
                  <a:pos x="0" y="16"/>
                </a:cxn>
                <a:cxn ang="0">
                  <a:pos x="7" y="7"/>
                </a:cxn>
                <a:cxn ang="0">
                  <a:pos x="50" y="0"/>
                </a:cxn>
                <a:cxn ang="0">
                  <a:pos x="52" y="0"/>
                </a:cxn>
                <a:cxn ang="0">
                  <a:pos x="58" y="6"/>
                </a:cxn>
                <a:cxn ang="0">
                  <a:pos x="58" y="67"/>
                </a:cxn>
                <a:cxn ang="0">
                  <a:pos x="109" y="67"/>
                </a:cxn>
                <a:cxn ang="0">
                  <a:pos x="115" y="72"/>
                </a:cxn>
                <a:cxn ang="0">
                  <a:pos x="115" y="103"/>
                </a:cxn>
                <a:cxn ang="0">
                  <a:pos x="109" y="108"/>
                </a:cxn>
                <a:cxn ang="0">
                  <a:pos x="58" y="108"/>
                </a:cxn>
                <a:cxn ang="0">
                  <a:pos x="58" y="204"/>
                </a:cxn>
                <a:cxn ang="0">
                  <a:pos x="83" y="228"/>
                </a:cxn>
                <a:cxn ang="0">
                  <a:pos x="110" y="225"/>
                </a:cxn>
                <a:cxn ang="0">
                  <a:pos x="111" y="225"/>
                </a:cxn>
                <a:cxn ang="0">
                  <a:pos x="116" y="229"/>
                </a:cxn>
                <a:cxn ang="0">
                  <a:pos x="121" y="253"/>
                </a:cxn>
                <a:cxn ang="0">
                  <a:pos x="121" y="256"/>
                </a:cxn>
              </a:cxnLst>
              <a:rect l="0" t="0" r="r" b="b"/>
              <a:pathLst>
                <a:path w="121" h="269">
                  <a:moveTo>
                    <a:pt x="121" y="256"/>
                  </a:moveTo>
                  <a:cubicBezTo>
                    <a:pt x="121" y="259"/>
                    <a:pt x="119" y="261"/>
                    <a:pt x="116" y="262"/>
                  </a:cubicBezTo>
                  <a:cubicBezTo>
                    <a:pt x="110" y="264"/>
                    <a:pt x="93" y="269"/>
                    <a:pt x="68" y="269"/>
                  </a:cubicBezTo>
                  <a:cubicBezTo>
                    <a:pt x="23" y="269"/>
                    <a:pt x="0" y="252"/>
                    <a:pt x="0" y="207"/>
                  </a:cubicBezTo>
                  <a:cubicBezTo>
                    <a:pt x="0" y="16"/>
                    <a:pt x="0" y="16"/>
                    <a:pt x="0" y="16"/>
                  </a:cubicBezTo>
                  <a:cubicBezTo>
                    <a:pt x="0" y="11"/>
                    <a:pt x="2" y="8"/>
                    <a:pt x="7" y="7"/>
                  </a:cubicBezTo>
                  <a:cubicBezTo>
                    <a:pt x="50" y="0"/>
                    <a:pt x="50" y="0"/>
                    <a:pt x="50" y="0"/>
                  </a:cubicBezTo>
                  <a:cubicBezTo>
                    <a:pt x="52" y="0"/>
                    <a:pt x="52" y="0"/>
                    <a:pt x="52" y="0"/>
                  </a:cubicBezTo>
                  <a:cubicBezTo>
                    <a:pt x="56" y="0"/>
                    <a:pt x="58" y="1"/>
                    <a:pt x="58" y="6"/>
                  </a:cubicBezTo>
                  <a:cubicBezTo>
                    <a:pt x="58" y="67"/>
                    <a:pt x="58" y="67"/>
                    <a:pt x="58" y="67"/>
                  </a:cubicBezTo>
                  <a:cubicBezTo>
                    <a:pt x="109" y="67"/>
                    <a:pt x="109" y="67"/>
                    <a:pt x="109" y="67"/>
                  </a:cubicBezTo>
                  <a:cubicBezTo>
                    <a:pt x="112" y="67"/>
                    <a:pt x="115" y="69"/>
                    <a:pt x="115" y="72"/>
                  </a:cubicBezTo>
                  <a:cubicBezTo>
                    <a:pt x="115" y="103"/>
                    <a:pt x="115" y="103"/>
                    <a:pt x="115" y="103"/>
                  </a:cubicBezTo>
                  <a:cubicBezTo>
                    <a:pt x="115" y="106"/>
                    <a:pt x="112" y="108"/>
                    <a:pt x="109" y="108"/>
                  </a:cubicBezTo>
                  <a:cubicBezTo>
                    <a:pt x="58" y="108"/>
                    <a:pt x="58" y="108"/>
                    <a:pt x="58" y="108"/>
                  </a:cubicBezTo>
                  <a:cubicBezTo>
                    <a:pt x="58" y="204"/>
                    <a:pt x="58" y="204"/>
                    <a:pt x="58" y="204"/>
                  </a:cubicBezTo>
                  <a:cubicBezTo>
                    <a:pt x="58" y="219"/>
                    <a:pt x="63" y="228"/>
                    <a:pt x="83" y="228"/>
                  </a:cubicBezTo>
                  <a:cubicBezTo>
                    <a:pt x="94" y="228"/>
                    <a:pt x="104" y="226"/>
                    <a:pt x="110" y="225"/>
                  </a:cubicBezTo>
                  <a:cubicBezTo>
                    <a:pt x="111" y="225"/>
                    <a:pt x="111" y="225"/>
                    <a:pt x="111" y="225"/>
                  </a:cubicBezTo>
                  <a:cubicBezTo>
                    <a:pt x="114" y="225"/>
                    <a:pt x="115" y="226"/>
                    <a:pt x="116" y="229"/>
                  </a:cubicBezTo>
                  <a:cubicBezTo>
                    <a:pt x="121" y="253"/>
                    <a:pt x="121" y="253"/>
                    <a:pt x="121" y="253"/>
                  </a:cubicBezTo>
                  <a:lnTo>
                    <a:pt x="121" y="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0" name="Freeform 39"/>
            <p:cNvSpPr>
              <a:spLocks noEditPoints="1"/>
            </p:cNvSpPr>
            <p:nvPr/>
          </p:nvSpPr>
          <p:spPr bwMode="auto">
            <a:xfrm>
              <a:off x="7083425" y="3248025"/>
              <a:ext cx="384175" cy="422275"/>
            </a:xfrm>
            <a:custGeom>
              <a:avLst/>
              <a:gdLst/>
              <a:ahLst/>
              <a:cxnLst>
                <a:cxn ang="0">
                  <a:pos x="189" y="119"/>
                </a:cxn>
                <a:cxn ang="0">
                  <a:pos x="180" y="129"/>
                </a:cxn>
                <a:cxn ang="0">
                  <a:pos x="58" y="129"/>
                </a:cxn>
                <a:cxn ang="0">
                  <a:pos x="74" y="161"/>
                </a:cxn>
                <a:cxn ang="0">
                  <a:pos x="115" y="170"/>
                </a:cxn>
                <a:cxn ang="0">
                  <a:pos x="167" y="161"/>
                </a:cxn>
                <a:cxn ang="0">
                  <a:pos x="168" y="161"/>
                </a:cxn>
                <a:cxn ang="0">
                  <a:pos x="174" y="167"/>
                </a:cxn>
                <a:cxn ang="0">
                  <a:pos x="179" y="188"/>
                </a:cxn>
                <a:cxn ang="0">
                  <a:pos x="180" y="190"/>
                </a:cxn>
                <a:cxn ang="0">
                  <a:pos x="176" y="196"/>
                </a:cxn>
                <a:cxn ang="0">
                  <a:pos x="105" y="209"/>
                </a:cxn>
                <a:cxn ang="0">
                  <a:pos x="0" y="105"/>
                </a:cxn>
                <a:cxn ang="0">
                  <a:pos x="95" y="0"/>
                </a:cxn>
                <a:cxn ang="0">
                  <a:pos x="171" y="26"/>
                </a:cxn>
                <a:cxn ang="0">
                  <a:pos x="190" y="101"/>
                </a:cxn>
                <a:cxn ang="0">
                  <a:pos x="189" y="119"/>
                </a:cxn>
                <a:cxn ang="0">
                  <a:pos x="132" y="92"/>
                </a:cxn>
                <a:cxn ang="0">
                  <a:pos x="130" y="65"/>
                </a:cxn>
                <a:cxn ang="0">
                  <a:pos x="96" y="38"/>
                </a:cxn>
                <a:cxn ang="0">
                  <a:pos x="60" y="63"/>
                </a:cxn>
                <a:cxn ang="0">
                  <a:pos x="58" y="94"/>
                </a:cxn>
                <a:cxn ang="0">
                  <a:pos x="132" y="94"/>
                </a:cxn>
                <a:cxn ang="0">
                  <a:pos x="132" y="92"/>
                </a:cxn>
              </a:cxnLst>
              <a:rect l="0" t="0" r="r" b="b"/>
              <a:pathLst>
                <a:path w="190" h="209">
                  <a:moveTo>
                    <a:pt x="189" y="119"/>
                  </a:moveTo>
                  <a:cubicBezTo>
                    <a:pt x="189" y="124"/>
                    <a:pt x="187" y="129"/>
                    <a:pt x="180" y="129"/>
                  </a:cubicBezTo>
                  <a:cubicBezTo>
                    <a:pt x="58" y="129"/>
                    <a:pt x="58" y="129"/>
                    <a:pt x="58" y="129"/>
                  </a:cubicBezTo>
                  <a:cubicBezTo>
                    <a:pt x="58" y="145"/>
                    <a:pt x="63" y="154"/>
                    <a:pt x="74" y="161"/>
                  </a:cubicBezTo>
                  <a:cubicBezTo>
                    <a:pt x="83" y="167"/>
                    <a:pt x="96" y="170"/>
                    <a:pt x="115" y="170"/>
                  </a:cubicBezTo>
                  <a:cubicBezTo>
                    <a:pt x="138" y="170"/>
                    <a:pt x="157" y="164"/>
                    <a:pt x="167" y="161"/>
                  </a:cubicBezTo>
                  <a:cubicBezTo>
                    <a:pt x="168" y="161"/>
                    <a:pt x="168" y="161"/>
                    <a:pt x="168" y="161"/>
                  </a:cubicBezTo>
                  <a:cubicBezTo>
                    <a:pt x="171" y="161"/>
                    <a:pt x="173" y="163"/>
                    <a:pt x="174" y="167"/>
                  </a:cubicBezTo>
                  <a:cubicBezTo>
                    <a:pt x="179" y="188"/>
                    <a:pt x="179" y="188"/>
                    <a:pt x="179" y="188"/>
                  </a:cubicBezTo>
                  <a:cubicBezTo>
                    <a:pt x="180" y="189"/>
                    <a:pt x="180" y="189"/>
                    <a:pt x="180" y="190"/>
                  </a:cubicBezTo>
                  <a:cubicBezTo>
                    <a:pt x="180" y="193"/>
                    <a:pt x="178" y="195"/>
                    <a:pt x="176" y="196"/>
                  </a:cubicBezTo>
                  <a:cubicBezTo>
                    <a:pt x="164" y="201"/>
                    <a:pt x="137" y="209"/>
                    <a:pt x="105" y="209"/>
                  </a:cubicBezTo>
                  <a:cubicBezTo>
                    <a:pt x="31" y="209"/>
                    <a:pt x="0" y="182"/>
                    <a:pt x="0" y="105"/>
                  </a:cubicBezTo>
                  <a:cubicBezTo>
                    <a:pt x="0" y="31"/>
                    <a:pt x="22" y="0"/>
                    <a:pt x="95" y="0"/>
                  </a:cubicBezTo>
                  <a:cubicBezTo>
                    <a:pt x="133" y="0"/>
                    <a:pt x="156" y="9"/>
                    <a:pt x="171" y="26"/>
                  </a:cubicBezTo>
                  <a:cubicBezTo>
                    <a:pt x="185" y="43"/>
                    <a:pt x="190" y="68"/>
                    <a:pt x="190" y="101"/>
                  </a:cubicBezTo>
                  <a:cubicBezTo>
                    <a:pt x="190" y="106"/>
                    <a:pt x="189" y="114"/>
                    <a:pt x="189" y="119"/>
                  </a:cubicBezTo>
                  <a:close/>
                  <a:moveTo>
                    <a:pt x="132" y="92"/>
                  </a:moveTo>
                  <a:cubicBezTo>
                    <a:pt x="132" y="81"/>
                    <a:pt x="131" y="73"/>
                    <a:pt x="130" y="65"/>
                  </a:cubicBezTo>
                  <a:cubicBezTo>
                    <a:pt x="125" y="45"/>
                    <a:pt x="115" y="38"/>
                    <a:pt x="96" y="38"/>
                  </a:cubicBezTo>
                  <a:cubicBezTo>
                    <a:pt x="72" y="38"/>
                    <a:pt x="63" y="46"/>
                    <a:pt x="60" y="63"/>
                  </a:cubicBezTo>
                  <a:cubicBezTo>
                    <a:pt x="58" y="73"/>
                    <a:pt x="58" y="82"/>
                    <a:pt x="58" y="94"/>
                  </a:cubicBezTo>
                  <a:cubicBezTo>
                    <a:pt x="132" y="94"/>
                    <a:pt x="132" y="94"/>
                    <a:pt x="132" y="94"/>
                  </a:cubicBezTo>
                  <a:lnTo>
                    <a:pt x="132"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1" name="Freeform 40"/>
            <p:cNvSpPr>
              <a:spLocks/>
            </p:cNvSpPr>
            <p:nvPr/>
          </p:nvSpPr>
          <p:spPr bwMode="auto">
            <a:xfrm>
              <a:off x="7515225" y="3248025"/>
              <a:ext cx="230188" cy="412750"/>
            </a:xfrm>
            <a:custGeom>
              <a:avLst/>
              <a:gdLst/>
              <a:ahLst/>
              <a:cxnLst>
                <a:cxn ang="0">
                  <a:pos x="107" y="43"/>
                </a:cxn>
                <a:cxn ang="0">
                  <a:pos x="59" y="48"/>
                </a:cxn>
                <a:cxn ang="0">
                  <a:pos x="59" y="198"/>
                </a:cxn>
                <a:cxn ang="0">
                  <a:pos x="53" y="204"/>
                </a:cxn>
                <a:cxn ang="0">
                  <a:pos x="6" y="204"/>
                </a:cxn>
                <a:cxn ang="0">
                  <a:pos x="0" y="198"/>
                </a:cxn>
                <a:cxn ang="0">
                  <a:pos x="0" y="32"/>
                </a:cxn>
                <a:cxn ang="0">
                  <a:pos x="17" y="13"/>
                </a:cxn>
                <a:cxn ang="0">
                  <a:pos x="63" y="4"/>
                </a:cxn>
                <a:cxn ang="0">
                  <a:pos x="100" y="0"/>
                </a:cxn>
                <a:cxn ang="0">
                  <a:pos x="103" y="0"/>
                </a:cxn>
                <a:cxn ang="0">
                  <a:pos x="111" y="2"/>
                </a:cxn>
                <a:cxn ang="0">
                  <a:pos x="114" y="8"/>
                </a:cxn>
                <a:cxn ang="0">
                  <a:pos x="114" y="36"/>
                </a:cxn>
                <a:cxn ang="0">
                  <a:pos x="107" y="43"/>
                </a:cxn>
              </a:cxnLst>
              <a:rect l="0" t="0" r="r" b="b"/>
              <a:pathLst>
                <a:path w="114" h="204">
                  <a:moveTo>
                    <a:pt x="107" y="43"/>
                  </a:moveTo>
                  <a:cubicBezTo>
                    <a:pt x="85" y="43"/>
                    <a:pt x="65" y="46"/>
                    <a:pt x="59" y="48"/>
                  </a:cubicBezTo>
                  <a:cubicBezTo>
                    <a:pt x="59" y="198"/>
                    <a:pt x="59" y="198"/>
                    <a:pt x="59" y="198"/>
                  </a:cubicBezTo>
                  <a:cubicBezTo>
                    <a:pt x="59" y="202"/>
                    <a:pt x="56" y="204"/>
                    <a:pt x="53" y="204"/>
                  </a:cubicBezTo>
                  <a:cubicBezTo>
                    <a:pt x="6" y="204"/>
                    <a:pt x="6" y="204"/>
                    <a:pt x="6" y="204"/>
                  </a:cubicBezTo>
                  <a:cubicBezTo>
                    <a:pt x="4" y="204"/>
                    <a:pt x="0" y="202"/>
                    <a:pt x="0" y="198"/>
                  </a:cubicBezTo>
                  <a:cubicBezTo>
                    <a:pt x="0" y="32"/>
                    <a:pt x="0" y="32"/>
                    <a:pt x="0" y="32"/>
                  </a:cubicBezTo>
                  <a:cubicBezTo>
                    <a:pt x="0" y="21"/>
                    <a:pt x="6" y="17"/>
                    <a:pt x="17" y="13"/>
                  </a:cubicBezTo>
                  <a:cubicBezTo>
                    <a:pt x="29" y="9"/>
                    <a:pt x="47" y="6"/>
                    <a:pt x="63" y="4"/>
                  </a:cubicBezTo>
                  <a:cubicBezTo>
                    <a:pt x="74" y="2"/>
                    <a:pt x="87" y="1"/>
                    <a:pt x="100" y="0"/>
                  </a:cubicBezTo>
                  <a:cubicBezTo>
                    <a:pt x="103" y="0"/>
                    <a:pt x="103" y="0"/>
                    <a:pt x="103" y="0"/>
                  </a:cubicBezTo>
                  <a:cubicBezTo>
                    <a:pt x="108" y="0"/>
                    <a:pt x="109" y="1"/>
                    <a:pt x="111" y="2"/>
                  </a:cubicBezTo>
                  <a:cubicBezTo>
                    <a:pt x="112" y="3"/>
                    <a:pt x="114" y="5"/>
                    <a:pt x="114" y="8"/>
                  </a:cubicBezTo>
                  <a:cubicBezTo>
                    <a:pt x="114" y="36"/>
                    <a:pt x="114" y="36"/>
                    <a:pt x="114" y="36"/>
                  </a:cubicBezTo>
                  <a:cubicBezTo>
                    <a:pt x="114" y="40"/>
                    <a:pt x="113" y="43"/>
                    <a:pt x="107"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2" name="Freeform 41"/>
            <p:cNvSpPr>
              <a:spLocks noEditPoints="1"/>
            </p:cNvSpPr>
            <p:nvPr/>
          </p:nvSpPr>
          <p:spPr bwMode="auto">
            <a:xfrm>
              <a:off x="7767638" y="3248025"/>
              <a:ext cx="371475" cy="422275"/>
            </a:xfrm>
            <a:custGeom>
              <a:avLst/>
              <a:gdLst/>
              <a:ahLst/>
              <a:cxnLst>
                <a:cxn ang="0">
                  <a:pos x="147" y="204"/>
                </a:cxn>
                <a:cxn ang="0">
                  <a:pos x="93" y="209"/>
                </a:cxn>
                <a:cxn ang="0">
                  <a:pos x="0" y="144"/>
                </a:cxn>
                <a:cxn ang="0">
                  <a:pos x="59" y="85"/>
                </a:cxn>
                <a:cxn ang="0">
                  <a:pos x="125" y="74"/>
                </a:cxn>
                <a:cxn ang="0">
                  <a:pos x="125" y="64"/>
                </a:cxn>
                <a:cxn ang="0">
                  <a:pos x="116" y="43"/>
                </a:cxn>
                <a:cxn ang="0">
                  <a:pos x="89" y="40"/>
                </a:cxn>
                <a:cxn ang="0">
                  <a:pos x="25" y="50"/>
                </a:cxn>
                <a:cxn ang="0">
                  <a:pos x="23" y="51"/>
                </a:cxn>
                <a:cxn ang="0">
                  <a:pos x="19" y="47"/>
                </a:cxn>
                <a:cxn ang="0">
                  <a:pos x="13" y="21"/>
                </a:cxn>
                <a:cxn ang="0">
                  <a:pos x="13" y="19"/>
                </a:cxn>
                <a:cxn ang="0">
                  <a:pos x="17" y="13"/>
                </a:cxn>
                <a:cxn ang="0">
                  <a:pos x="102" y="0"/>
                </a:cxn>
                <a:cxn ang="0">
                  <a:pos x="159" y="11"/>
                </a:cxn>
                <a:cxn ang="0">
                  <a:pos x="184" y="60"/>
                </a:cxn>
                <a:cxn ang="0">
                  <a:pos x="184" y="164"/>
                </a:cxn>
                <a:cxn ang="0">
                  <a:pos x="147" y="204"/>
                </a:cxn>
                <a:cxn ang="0">
                  <a:pos x="126" y="109"/>
                </a:cxn>
                <a:cxn ang="0">
                  <a:pos x="85" y="116"/>
                </a:cxn>
                <a:cxn ang="0">
                  <a:pos x="58" y="143"/>
                </a:cxn>
                <a:cxn ang="0">
                  <a:pos x="94" y="172"/>
                </a:cxn>
                <a:cxn ang="0">
                  <a:pos x="126" y="168"/>
                </a:cxn>
                <a:cxn ang="0">
                  <a:pos x="126" y="109"/>
                </a:cxn>
              </a:cxnLst>
              <a:rect l="0" t="0" r="r" b="b"/>
              <a:pathLst>
                <a:path w="184" h="209">
                  <a:moveTo>
                    <a:pt x="147" y="204"/>
                  </a:moveTo>
                  <a:cubicBezTo>
                    <a:pt x="133" y="207"/>
                    <a:pt x="115" y="209"/>
                    <a:pt x="93" y="209"/>
                  </a:cubicBezTo>
                  <a:cubicBezTo>
                    <a:pt x="49" y="209"/>
                    <a:pt x="0" y="203"/>
                    <a:pt x="0" y="144"/>
                  </a:cubicBezTo>
                  <a:cubicBezTo>
                    <a:pt x="0" y="95"/>
                    <a:pt x="31" y="89"/>
                    <a:pt x="59" y="85"/>
                  </a:cubicBezTo>
                  <a:cubicBezTo>
                    <a:pt x="125" y="74"/>
                    <a:pt x="125" y="74"/>
                    <a:pt x="125" y="74"/>
                  </a:cubicBezTo>
                  <a:cubicBezTo>
                    <a:pt x="125" y="64"/>
                    <a:pt x="125" y="64"/>
                    <a:pt x="125" y="64"/>
                  </a:cubicBezTo>
                  <a:cubicBezTo>
                    <a:pt x="125" y="54"/>
                    <a:pt x="124" y="47"/>
                    <a:pt x="116" y="43"/>
                  </a:cubicBezTo>
                  <a:cubicBezTo>
                    <a:pt x="111" y="41"/>
                    <a:pt x="102" y="40"/>
                    <a:pt x="89" y="40"/>
                  </a:cubicBezTo>
                  <a:cubicBezTo>
                    <a:pt x="65" y="40"/>
                    <a:pt x="36" y="48"/>
                    <a:pt x="25" y="50"/>
                  </a:cubicBezTo>
                  <a:cubicBezTo>
                    <a:pt x="25" y="50"/>
                    <a:pt x="24" y="51"/>
                    <a:pt x="23" y="51"/>
                  </a:cubicBezTo>
                  <a:cubicBezTo>
                    <a:pt x="21" y="51"/>
                    <a:pt x="19" y="49"/>
                    <a:pt x="19" y="47"/>
                  </a:cubicBezTo>
                  <a:cubicBezTo>
                    <a:pt x="13" y="21"/>
                    <a:pt x="13" y="21"/>
                    <a:pt x="13" y="21"/>
                  </a:cubicBezTo>
                  <a:cubicBezTo>
                    <a:pt x="13" y="20"/>
                    <a:pt x="13" y="20"/>
                    <a:pt x="13" y="19"/>
                  </a:cubicBezTo>
                  <a:cubicBezTo>
                    <a:pt x="13" y="16"/>
                    <a:pt x="15" y="14"/>
                    <a:pt x="17" y="13"/>
                  </a:cubicBezTo>
                  <a:cubicBezTo>
                    <a:pt x="25" y="10"/>
                    <a:pt x="61" y="0"/>
                    <a:pt x="102" y="0"/>
                  </a:cubicBezTo>
                  <a:cubicBezTo>
                    <a:pt x="128" y="0"/>
                    <a:pt x="147" y="4"/>
                    <a:pt x="159" y="11"/>
                  </a:cubicBezTo>
                  <a:cubicBezTo>
                    <a:pt x="178" y="21"/>
                    <a:pt x="184" y="38"/>
                    <a:pt x="184" y="60"/>
                  </a:cubicBezTo>
                  <a:cubicBezTo>
                    <a:pt x="184" y="164"/>
                    <a:pt x="184" y="164"/>
                    <a:pt x="184" y="164"/>
                  </a:cubicBezTo>
                  <a:cubicBezTo>
                    <a:pt x="184" y="193"/>
                    <a:pt x="173" y="198"/>
                    <a:pt x="147" y="204"/>
                  </a:cubicBezTo>
                  <a:close/>
                  <a:moveTo>
                    <a:pt x="126" y="109"/>
                  </a:moveTo>
                  <a:cubicBezTo>
                    <a:pt x="85" y="116"/>
                    <a:pt x="85" y="116"/>
                    <a:pt x="85" y="116"/>
                  </a:cubicBezTo>
                  <a:cubicBezTo>
                    <a:pt x="71" y="118"/>
                    <a:pt x="58" y="120"/>
                    <a:pt x="58" y="143"/>
                  </a:cubicBezTo>
                  <a:cubicBezTo>
                    <a:pt x="58" y="170"/>
                    <a:pt x="79" y="172"/>
                    <a:pt x="94" y="172"/>
                  </a:cubicBezTo>
                  <a:cubicBezTo>
                    <a:pt x="108" y="172"/>
                    <a:pt x="121" y="169"/>
                    <a:pt x="126" y="168"/>
                  </a:cubicBezTo>
                  <a:lnTo>
                    <a:pt x="126"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3" name="Freeform 42"/>
            <p:cNvSpPr>
              <a:spLocks noEditPoints="1"/>
            </p:cNvSpPr>
            <p:nvPr/>
          </p:nvSpPr>
          <p:spPr bwMode="auto">
            <a:xfrm>
              <a:off x="4910138" y="2455863"/>
              <a:ext cx="1085850" cy="919162"/>
            </a:xfrm>
            <a:custGeom>
              <a:avLst/>
              <a:gdLst/>
              <a:ahLst/>
              <a:cxnLst>
                <a:cxn ang="0">
                  <a:pos x="470" y="238"/>
                </a:cxn>
                <a:cxn ang="0">
                  <a:pos x="497" y="67"/>
                </a:cxn>
                <a:cxn ang="0">
                  <a:pos x="326" y="39"/>
                </a:cxn>
                <a:cxn ang="0">
                  <a:pos x="220" y="250"/>
                </a:cxn>
                <a:cxn ang="0">
                  <a:pos x="50" y="276"/>
                </a:cxn>
                <a:cxn ang="0">
                  <a:pos x="29" y="404"/>
                </a:cxn>
                <a:cxn ang="0">
                  <a:pos x="158" y="425"/>
                </a:cxn>
                <a:cxn ang="0">
                  <a:pos x="235" y="272"/>
                </a:cxn>
                <a:cxn ang="0">
                  <a:pos x="470" y="238"/>
                </a:cxn>
                <a:cxn ang="0">
                  <a:pos x="295" y="137"/>
                </a:cxn>
                <a:cxn ang="0">
                  <a:pos x="381" y="151"/>
                </a:cxn>
                <a:cxn ang="0">
                  <a:pos x="367" y="237"/>
                </a:cxn>
                <a:cxn ang="0">
                  <a:pos x="242" y="254"/>
                </a:cxn>
                <a:cxn ang="0">
                  <a:pos x="238" y="254"/>
                </a:cxn>
                <a:cxn ang="0">
                  <a:pos x="239" y="250"/>
                </a:cxn>
                <a:cxn ang="0">
                  <a:pos x="295" y="137"/>
                </a:cxn>
                <a:cxn ang="0">
                  <a:pos x="175" y="356"/>
                </a:cxn>
                <a:cxn ang="0">
                  <a:pos x="110" y="346"/>
                </a:cxn>
                <a:cxn ang="0">
                  <a:pos x="121" y="281"/>
                </a:cxn>
                <a:cxn ang="0">
                  <a:pos x="214" y="268"/>
                </a:cxn>
                <a:cxn ang="0">
                  <a:pos x="218" y="268"/>
                </a:cxn>
                <a:cxn ang="0">
                  <a:pos x="217" y="272"/>
                </a:cxn>
                <a:cxn ang="0">
                  <a:pos x="175" y="356"/>
                </a:cxn>
              </a:cxnLst>
              <a:rect l="0" t="0" r="r" b="b"/>
              <a:pathLst>
                <a:path w="537" h="455">
                  <a:moveTo>
                    <a:pt x="470" y="238"/>
                  </a:moveTo>
                  <a:cubicBezTo>
                    <a:pt x="524" y="198"/>
                    <a:pt x="537" y="122"/>
                    <a:pt x="497" y="67"/>
                  </a:cubicBezTo>
                  <a:cubicBezTo>
                    <a:pt x="458" y="12"/>
                    <a:pt x="381" y="0"/>
                    <a:pt x="326" y="39"/>
                  </a:cubicBezTo>
                  <a:cubicBezTo>
                    <a:pt x="283" y="71"/>
                    <a:pt x="237" y="199"/>
                    <a:pt x="220" y="250"/>
                  </a:cubicBezTo>
                  <a:cubicBezTo>
                    <a:pt x="176" y="251"/>
                    <a:pt x="81" y="253"/>
                    <a:pt x="50" y="276"/>
                  </a:cubicBezTo>
                  <a:cubicBezTo>
                    <a:pt x="9" y="306"/>
                    <a:pt x="0" y="363"/>
                    <a:pt x="29" y="404"/>
                  </a:cubicBezTo>
                  <a:cubicBezTo>
                    <a:pt x="59" y="445"/>
                    <a:pt x="116" y="455"/>
                    <a:pt x="158" y="425"/>
                  </a:cubicBezTo>
                  <a:cubicBezTo>
                    <a:pt x="189" y="402"/>
                    <a:pt x="222" y="313"/>
                    <a:pt x="235" y="272"/>
                  </a:cubicBezTo>
                  <a:cubicBezTo>
                    <a:pt x="289" y="272"/>
                    <a:pt x="426" y="269"/>
                    <a:pt x="470" y="238"/>
                  </a:cubicBezTo>
                  <a:close/>
                  <a:moveTo>
                    <a:pt x="295" y="137"/>
                  </a:moveTo>
                  <a:cubicBezTo>
                    <a:pt x="322" y="117"/>
                    <a:pt x="361" y="123"/>
                    <a:pt x="381" y="151"/>
                  </a:cubicBezTo>
                  <a:cubicBezTo>
                    <a:pt x="401" y="178"/>
                    <a:pt x="395" y="217"/>
                    <a:pt x="367" y="237"/>
                  </a:cubicBezTo>
                  <a:cubicBezTo>
                    <a:pt x="343" y="255"/>
                    <a:pt x="261" y="254"/>
                    <a:pt x="242" y="254"/>
                  </a:cubicBezTo>
                  <a:cubicBezTo>
                    <a:pt x="239" y="254"/>
                    <a:pt x="238" y="254"/>
                    <a:pt x="238" y="254"/>
                  </a:cubicBezTo>
                  <a:cubicBezTo>
                    <a:pt x="238" y="254"/>
                    <a:pt x="238" y="253"/>
                    <a:pt x="239" y="250"/>
                  </a:cubicBezTo>
                  <a:cubicBezTo>
                    <a:pt x="245" y="232"/>
                    <a:pt x="270" y="154"/>
                    <a:pt x="295" y="137"/>
                  </a:cubicBezTo>
                  <a:close/>
                  <a:moveTo>
                    <a:pt x="175" y="356"/>
                  </a:moveTo>
                  <a:cubicBezTo>
                    <a:pt x="154" y="371"/>
                    <a:pt x="125" y="367"/>
                    <a:pt x="110" y="346"/>
                  </a:cubicBezTo>
                  <a:cubicBezTo>
                    <a:pt x="95" y="325"/>
                    <a:pt x="100" y="296"/>
                    <a:pt x="121" y="281"/>
                  </a:cubicBezTo>
                  <a:cubicBezTo>
                    <a:pt x="139" y="268"/>
                    <a:pt x="198" y="268"/>
                    <a:pt x="214" y="268"/>
                  </a:cubicBezTo>
                  <a:cubicBezTo>
                    <a:pt x="216" y="268"/>
                    <a:pt x="218" y="268"/>
                    <a:pt x="218" y="268"/>
                  </a:cubicBezTo>
                  <a:cubicBezTo>
                    <a:pt x="218" y="268"/>
                    <a:pt x="218" y="270"/>
                    <a:pt x="217" y="272"/>
                  </a:cubicBezTo>
                  <a:cubicBezTo>
                    <a:pt x="212" y="288"/>
                    <a:pt x="193" y="343"/>
                    <a:pt x="175" y="3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grpSp>
    </p:spTree>
    <p:extLst>
      <p:ext uri="{BB962C8B-B14F-4D97-AF65-F5344CB8AC3E}">
        <p14:creationId xmlns:p14="http://schemas.microsoft.com/office/powerpoint/2010/main" val="881775798"/>
      </p:ext>
    </p:extLst>
  </p:cSld>
  <p:clrMapOvr>
    <a:masterClrMapping/>
  </p:clrMapOvr>
  <p:transition xmlns:p14="http://schemas.microsoft.com/office/powerpoint/2010/mai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3" name="Text Placeholder 2"/>
          <p:cNvSpPr>
            <a:spLocks noGrp="1"/>
          </p:cNvSpPr>
          <p:nvPr>
            <p:ph type="body" idx="1" hasCustomPrompt="1"/>
          </p:nvPr>
        </p:nvSpPr>
        <p:spPr>
          <a:xfrm>
            <a:off x="228600" y="514350"/>
            <a:ext cx="3977640" cy="475906"/>
          </a:xfrm>
        </p:spPr>
        <p:txBody>
          <a:bodyPr vert="horz" lIns="91440" tIns="45720" rIns="91440" bIns="45720" rtlCol="0" anchor="ctr" anchorCtr="0">
            <a:noAutofit/>
          </a:bodyPr>
          <a:lstStyle>
            <a:lvl1pPr marL="0" indent="0">
              <a:buNone/>
              <a:defRPr lang="en-US" sz="1350" b="0" kern="1200" smtClean="0">
                <a:solidFill>
                  <a:schemeClr val="bg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lvl="0" indent="0" algn="l" defTabSz="685800" rtl="0" eaLnBrk="1" latinLnBrk="0" hangingPunct="1">
              <a:lnSpc>
                <a:spcPct val="80000"/>
              </a:lnSpc>
              <a:spcBef>
                <a:spcPts val="0"/>
              </a:spcBef>
              <a:spcAft>
                <a:spcPts val="0"/>
              </a:spcAft>
              <a:buFont typeface="Arial" pitchFamily="34" charset="0"/>
              <a:buNone/>
            </a:pPr>
            <a:r>
              <a:rPr lang="en-US" dirty="0"/>
              <a:t>Click to edit master text styles</a:t>
            </a:r>
          </a:p>
        </p:txBody>
      </p:sp>
      <p:sp>
        <p:nvSpPr>
          <p:cNvPr id="4" name="Content Placeholder 3"/>
          <p:cNvSpPr>
            <a:spLocks noGrp="1"/>
          </p:cNvSpPr>
          <p:nvPr>
            <p:ph sz="half" idx="2" hasCustomPrompt="1"/>
          </p:nvPr>
        </p:nvSpPr>
        <p:spPr>
          <a:xfrm>
            <a:off x="228600" y="966978"/>
            <a:ext cx="3977640" cy="3707416"/>
          </a:xfrm>
        </p:spPr>
        <p:txBody>
          <a:bodyPr/>
          <a:lstStyle>
            <a:lvl1pPr>
              <a:defRPr sz="1125">
                <a:solidFill>
                  <a:schemeClr val="bg1"/>
                </a:solidFill>
              </a:defRPr>
            </a:lvl1pPr>
            <a:lvl2pPr>
              <a:defRPr sz="975">
                <a:solidFill>
                  <a:schemeClr val="bg1"/>
                </a:solidFill>
              </a:defRPr>
            </a:lvl2pPr>
            <a:lvl3pPr>
              <a:defRPr sz="900">
                <a:solidFill>
                  <a:schemeClr val="bg1"/>
                </a:solidFill>
              </a:defRPr>
            </a:lvl3pPr>
            <a:lvl4pPr>
              <a:defRPr sz="825">
                <a:solidFill>
                  <a:schemeClr val="bg1"/>
                </a:solidFill>
              </a:defRPr>
            </a:lvl4pPr>
            <a:lvl5pPr>
              <a:defRPr sz="825">
                <a:solidFill>
                  <a:schemeClr val="bg1"/>
                </a:solidFill>
              </a:defRPr>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805998" y="514350"/>
            <a:ext cx="3977640" cy="475906"/>
          </a:xfrm>
        </p:spPr>
        <p:txBody>
          <a:bodyPr vert="horz" lIns="91440" tIns="45720" rIns="91440" bIns="45720" rtlCol="0" anchor="ctr" anchorCtr="0">
            <a:noAutofit/>
          </a:bodyPr>
          <a:lstStyle>
            <a:lvl1pPr marL="0" indent="0">
              <a:buNone/>
              <a:defRPr lang="en-US" sz="1350" b="0" kern="1200" smtClean="0">
                <a:solidFill>
                  <a:schemeClr val="bg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lvl="0" indent="0" algn="l" defTabSz="685800" rtl="0" eaLnBrk="1" latinLnBrk="0" hangingPunct="1">
              <a:lnSpc>
                <a:spcPct val="80000"/>
              </a:lnSpc>
              <a:spcBef>
                <a:spcPts val="0"/>
              </a:spcBef>
              <a:spcAft>
                <a:spcPts val="0"/>
              </a:spcAft>
              <a:buFont typeface="Arial" pitchFamily="34" charset="0"/>
              <a:buNone/>
            </a:pPr>
            <a:r>
              <a:rPr lang="en-US" dirty="0"/>
              <a:t>Click to edit master text styles</a:t>
            </a:r>
          </a:p>
        </p:txBody>
      </p:sp>
      <p:sp>
        <p:nvSpPr>
          <p:cNvPr id="6" name="Content Placeholder 5"/>
          <p:cNvSpPr>
            <a:spLocks noGrp="1"/>
          </p:cNvSpPr>
          <p:nvPr>
            <p:ph sz="quarter" idx="4" hasCustomPrompt="1"/>
          </p:nvPr>
        </p:nvSpPr>
        <p:spPr>
          <a:xfrm>
            <a:off x="4805998" y="966978"/>
            <a:ext cx="3977640" cy="3707416"/>
          </a:xfrm>
        </p:spPr>
        <p:txBody>
          <a:bodyPr/>
          <a:lstStyle>
            <a:lvl1pPr>
              <a:defRPr sz="1125">
                <a:solidFill>
                  <a:schemeClr val="bg1"/>
                </a:solidFill>
              </a:defRPr>
            </a:lvl1pPr>
            <a:lvl2pPr>
              <a:defRPr sz="975">
                <a:solidFill>
                  <a:schemeClr val="bg1"/>
                </a:solidFill>
              </a:defRPr>
            </a:lvl2pPr>
            <a:lvl3pPr>
              <a:defRPr sz="900">
                <a:solidFill>
                  <a:schemeClr val="bg1"/>
                </a:solidFill>
              </a:defRPr>
            </a:lvl3pPr>
            <a:lvl4pPr>
              <a:defRPr sz="825">
                <a:solidFill>
                  <a:schemeClr val="bg1"/>
                </a:solidFill>
              </a:defRPr>
            </a:lvl4pPr>
            <a:lvl5pPr>
              <a:defRPr sz="825">
                <a:solidFill>
                  <a:schemeClr val="bg1"/>
                </a:solidFill>
              </a:defRPr>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a:solidFill>
                <a:srgbClr val="B4B4B4"/>
              </a:solidFill>
            </a:endParaRPr>
          </a:p>
        </p:txBody>
      </p:sp>
      <p:sp>
        <p:nvSpPr>
          <p:cNvPr id="9" name="Slide Number Placeholder 8"/>
          <p:cNvSpPr>
            <a:spLocks noGrp="1"/>
          </p:cNvSpPr>
          <p:nvPr>
            <p:ph type="sldNum" sz="quarter" idx="12"/>
          </p:nvPr>
        </p:nvSpPr>
        <p:spPr/>
        <p:txBody>
          <a:bodyPr/>
          <a:lstStyle/>
          <a:p>
            <a:fld id="{52BB5B38-2141-4D75-B405-23F83BDD5945}" type="slidenum">
              <a:rPr lang="en-US" smtClean="0">
                <a:solidFill>
                  <a:srgbClr val="B4B4B4"/>
                </a:solidFill>
              </a:rPr>
              <a:pPr/>
              <a:t>‹#›</a:t>
            </a:fld>
            <a:endParaRPr lang="en-US">
              <a:solidFill>
                <a:srgbClr val="B4B4B4"/>
              </a:solidFill>
            </a:endParaRPr>
          </a:p>
        </p:txBody>
      </p:sp>
      <p:grpSp>
        <p:nvGrpSpPr>
          <p:cNvPr id="37" name="Group 7"/>
          <p:cNvGrpSpPr>
            <a:grpSpLocks noChangeAspect="1"/>
          </p:cNvGrpSpPr>
          <p:nvPr userDrawn="1"/>
        </p:nvGrpSpPr>
        <p:grpSpPr>
          <a:xfrm>
            <a:off x="336180" y="4872435"/>
            <a:ext cx="689616" cy="194526"/>
            <a:chOff x="4910138" y="2455863"/>
            <a:chExt cx="3228975" cy="1214437"/>
          </a:xfrm>
          <a:solidFill>
            <a:schemeClr val="tx1"/>
          </a:solidFill>
        </p:grpSpPr>
        <p:sp>
          <p:nvSpPr>
            <p:cNvPr id="38" name="Freeform 37"/>
            <p:cNvSpPr>
              <a:spLocks/>
            </p:cNvSpPr>
            <p:nvPr/>
          </p:nvSpPr>
          <p:spPr bwMode="auto">
            <a:xfrm>
              <a:off x="5408613" y="3094038"/>
              <a:ext cx="492125" cy="566737"/>
            </a:xfrm>
            <a:custGeom>
              <a:avLst/>
              <a:gdLst/>
              <a:ahLst/>
              <a:cxnLst>
                <a:cxn ang="0">
                  <a:pos x="243" y="274"/>
                </a:cxn>
                <a:cxn ang="0">
                  <a:pos x="238" y="280"/>
                </a:cxn>
                <a:cxn ang="0">
                  <a:pos x="174" y="280"/>
                </a:cxn>
                <a:cxn ang="0">
                  <a:pos x="166" y="276"/>
                </a:cxn>
                <a:cxn ang="0">
                  <a:pos x="81" y="162"/>
                </a:cxn>
                <a:cxn ang="0">
                  <a:pos x="63" y="162"/>
                </a:cxn>
                <a:cxn ang="0">
                  <a:pos x="63" y="274"/>
                </a:cxn>
                <a:cxn ang="0">
                  <a:pos x="57" y="280"/>
                </a:cxn>
                <a:cxn ang="0">
                  <a:pos x="6" y="280"/>
                </a:cxn>
                <a:cxn ang="0">
                  <a:pos x="0" y="274"/>
                </a:cxn>
                <a:cxn ang="0">
                  <a:pos x="0" y="5"/>
                </a:cxn>
                <a:cxn ang="0">
                  <a:pos x="6" y="0"/>
                </a:cxn>
                <a:cxn ang="0">
                  <a:pos x="57" y="0"/>
                </a:cxn>
                <a:cxn ang="0">
                  <a:pos x="63" y="5"/>
                </a:cxn>
                <a:cxn ang="0">
                  <a:pos x="63" y="116"/>
                </a:cxn>
                <a:cxn ang="0">
                  <a:pos x="81" y="116"/>
                </a:cxn>
                <a:cxn ang="0">
                  <a:pos x="163" y="3"/>
                </a:cxn>
                <a:cxn ang="0">
                  <a:pos x="169" y="0"/>
                </a:cxn>
                <a:cxn ang="0">
                  <a:pos x="170" y="0"/>
                </a:cxn>
                <a:cxn ang="0">
                  <a:pos x="230" y="0"/>
                </a:cxn>
                <a:cxn ang="0">
                  <a:pos x="235" y="6"/>
                </a:cxn>
                <a:cxn ang="0">
                  <a:pos x="234" y="9"/>
                </a:cxn>
                <a:cxn ang="0">
                  <a:pos x="134" y="137"/>
                </a:cxn>
                <a:cxn ang="0">
                  <a:pos x="242" y="271"/>
                </a:cxn>
                <a:cxn ang="0">
                  <a:pos x="243" y="274"/>
                </a:cxn>
              </a:cxnLst>
              <a:rect l="0" t="0" r="r" b="b"/>
              <a:pathLst>
                <a:path w="243" h="280">
                  <a:moveTo>
                    <a:pt x="243" y="274"/>
                  </a:moveTo>
                  <a:cubicBezTo>
                    <a:pt x="243" y="277"/>
                    <a:pt x="240" y="280"/>
                    <a:pt x="238" y="280"/>
                  </a:cubicBezTo>
                  <a:cubicBezTo>
                    <a:pt x="174" y="280"/>
                    <a:pt x="174" y="280"/>
                    <a:pt x="174" y="280"/>
                  </a:cubicBezTo>
                  <a:cubicBezTo>
                    <a:pt x="170" y="280"/>
                    <a:pt x="167" y="278"/>
                    <a:pt x="166" y="276"/>
                  </a:cubicBezTo>
                  <a:cubicBezTo>
                    <a:pt x="81" y="162"/>
                    <a:pt x="81" y="162"/>
                    <a:pt x="81" y="162"/>
                  </a:cubicBezTo>
                  <a:cubicBezTo>
                    <a:pt x="63" y="162"/>
                    <a:pt x="63" y="162"/>
                    <a:pt x="63" y="162"/>
                  </a:cubicBezTo>
                  <a:cubicBezTo>
                    <a:pt x="63" y="274"/>
                    <a:pt x="63" y="274"/>
                    <a:pt x="63" y="274"/>
                  </a:cubicBezTo>
                  <a:cubicBezTo>
                    <a:pt x="63" y="278"/>
                    <a:pt x="60" y="280"/>
                    <a:pt x="57" y="280"/>
                  </a:cubicBezTo>
                  <a:cubicBezTo>
                    <a:pt x="6" y="280"/>
                    <a:pt x="6" y="280"/>
                    <a:pt x="6" y="280"/>
                  </a:cubicBezTo>
                  <a:cubicBezTo>
                    <a:pt x="3" y="280"/>
                    <a:pt x="0" y="278"/>
                    <a:pt x="0" y="274"/>
                  </a:cubicBezTo>
                  <a:cubicBezTo>
                    <a:pt x="0" y="5"/>
                    <a:pt x="0" y="5"/>
                    <a:pt x="0" y="5"/>
                  </a:cubicBezTo>
                  <a:cubicBezTo>
                    <a:pt x="0" y="2"/>
                    <a:pt x="3" y="0"/>
                    <a:pt x="6" y="0"/>
                  </a:cubicBezTo>
                  <a:cubicBezTo>
                    <a:pt x="57" y="0"/>
                    <a:pt x="57" y="0"/>
                    <a:pt x="57" y="0"/>
                  </a:cubicBezTo>
                  <a:cubicBezTo>
                    <a:pt x="60" y="0"/>
                    <a:pt x="63" y="2"/>
                    <a:pt x="63" y="5"/>
                  </a:cubicBezTo>
                  <a:cubicBezTo>
                    <a:pt x="63" y="116"/>
                    <a:pt x="63" y="116"/>
                    <a:pt x="63" y="116"/>
                  </a:cubicBezTo>
                  <a:cubicBezTo>
                    <a:pt x="81" y="116"/>
                    <a:pt x="81" y="116"/>
                    <a:pt x="81" y="116"/>
                  </a:cubicBezTo>
                  <a:cubicBezTo>
                    <a:pt x="163" y="3"/>
                    <a:pt x="163" y="3"/>
                    <a:pt x="163" y="3"/>
                  </a:cubicBezTo>
                  <a:cubicBezTo>
                    <a:pt x="165" y="1"/>
                    <a:pt x="166" y="0"/>
                    <a:pt x="169" y="0"/>
                  </a:cubicBezTo>
                  <a:cubicBezTo>
                    <a:pt x="170" y="0"/>
                    <a:pt x="170" y="0"/>
                    <a:pt x="170" y="0"/>
                  </a:cubicBezTo>
                  <a:cubicBezTo>
                    <a:pt x="230" y="0"/>
                    <a:pt x="230" y="0"/>
                    <a:pt x="230" y="0"/>
                  </a:cubicBezTo>
                  <a:cubicBezTo>
                    <a:pt x="232" y="0"/>
                    <a:pt x="235" y="3"/>
                    <a:pt x="235" y="6"/>
                  </a:cubicBezTo>
                  <a:cubicBezTo>
                    <a:pt x="235" y="7"/>
                    <a:pt x="234" y="8"/>
                    <a:pt x="234" y="9"/>
                  </a:cubicBezTo>
                  <a:cubicBezTo>
                    <a:pt x="134" y="137"/>
                    <a:pt x="134" y="137"/>
                    <a:pt x="134" y="137"/>
                  </a:cubicBezTo>
                  <a:cubicBezTo>
                    <a:pt x="242" y="271"/>
                    <a:pt x="242" y="271"/>
                    <a:pt x="242" y="271"/>
                  </a:cubicBezTo>
                  <a:cubicBezTo>
                    <a:pt x="242" y="272"/>
                    <a:pt x="243" y="273"/>
                    <a:pt x="243"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9" name="Freeform 38"/>
            <p:cNvSpPr>
              <a:spLocks noEditPoints="1"/>
            </p:cNvSpPr>
            <p:nvPr/>
          </p:nvSpPr>
          <p:spPr bwMode="auto">
            <a:xfrm>
              <a:off x="5903913" y="3248025"/>
              <a:ext cx="390525" cy="422275"/>
            </a:xfrm>
            <a:custGeom>
              <a:avLst/>
              <a:gdLst/>
              <a:ahLst/>
              <a:cxnLst>
                <a:cxn ang="0">
                  <a:pos x="97" y="209"/>
                </a:cxn>
                <a:cxn ang="0">
                  <a:pos x="0" y="104"/>
                </a:cxn>
                <a:cxn ang="0">
                  <a:pos x="97" y="0"/>
                </a:cxn>
                <a:cxn ang="0">
                  <a:pos x="193" y="104"/>
                </a:cxn>
                <a:cxn ang="0">
                  <a:pos x="97" y="209"/>
                </a:cxn>
                <a:cxn ang="0">
                  <a:pos x="97" y="39"/>
                </a:cxn>
                <a:cxn ang="0">
                  <a:pos x="60" y="104"/>
                </a:cxn>
                <a:cxn ang="0">
                  <a:pos x="97" y="169"/>
                </a:cxn>
                <a:cxn ang="0">
                  <a:pos x="133" y="104"/>
                </a:cxn>
                <a:cxn ang="0">
                  <a:pos x="97" y="39"/>
                </a:cxn>
              </a:cxnLst>
              <a:rect l="0" t="0" r="r" b="b"/>
              <a:pathLst>
                <a:path w="193" h="209">
                  <a:moveTo>
                    <a:pt x="97" y="209"/>
                  </a:moveTo>
                  <a:cubicBezTo>
                    <a:pt x="11" y="209"/>
                    <a:pt x="0" y="163"/>
                    <a:pt x="0" y="104"/>
                  </a:cubicBezTo>
                  <a:cubicBezTo>
                    <a:pt x="0" y="46"/>
                    <a:pt x="11" y="0"/>
                    <a:pt x="97" y="0"/>
                  </a:cubicBezTo>
                  <a:cubicBezTo>
                    <a:pt x="182" y="0"/>
                    <a:pt x="193" y="46"/>
                    <a:pt x="193" y="104"/>
                  </a:cubicBezTo>
                  <a:cubicBezTo>
                    <a:pt x="193" y="163"/>
                    <a:pt x="182" y="209"/>
                    <a:pt x="97" y="209"/>
                  </a:cubicBezTo>
                  <a:close/>
                  <a:moveTo>
                    <a:pt x="97" y="39"/>
                  </a:moveTo>
                  <a:cubicBezTo>
                    <a:pt x="61" y="39"/>
                    <a:pt x="60" y="60"/>
                    <a:pt x="60" y="104"/>
                  </a:cubicBezTo>
                  <a:cubicBezTo>
                    <a:pt x="60" y="149"/>
                    <a:pt x="61" y="169"/>
                    <a:pt x="97" y="169"/>
                  </a:cubicBezTo>
                  <a:cubicBezTo>
                    <a:pt x="132" y="169"/>
                    <a:pt x="133" y="149"/>
                    <a:pt x="133" y="104"/>
                  </a:cubicBezTo>
                  <a:cubicBezTo>
                    <a:pt x="133" y="60"/>
                    <a:pt x="132" y="39"/>
                    <a:pt x="97"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0" name="Freeform 39"/>
            <p:cNvSpPr>
              <a:spLocks/>
            </p:cNvSpPr>
            <p:nvPr/>
          </p:nvSpPr>
          <p:spPr bwMode="auto">
            <a:xfrm>
              <a:off x="6359525" y="3248025"/>
              <a:ext cx="366713" cy="412750"/>
            </a:xfrm>
            <a:custGeom>
              <a:avLst/>
              <a:gdLst/>
              <a:ahLst/>
              <a:cxnLst>
                <a:cxn ang="0">
                  <a:pos x="175" y="204"/>
                </a:cxn>
                <a:cxn ang="0">
                  <a:pos x="129" y="204"/>
                </a:cxn>
                <a:cxn ang="0">
                  <a:pos x="122" y="198"/>
                </a:cxn>
                <a:cxn ang="0">
                  <a:pos x="122" y="67"/>
                </a:cxn>
                <a:cxn ang="0">
                  <a:pos x="96" y="39"/>
                </a:cxn>
                <a:cxn ang="0">
                  <a:pos x="58" y="44"/>
                </a:cxn>
                <a:cxn ang="0">
                  <a:pos x="58" y="198"/>
                </a:cxn>
                <a:cxn ang="0">
                  <a:pos x="52" y="204"/>
                </a:cxn>
                <a:cxn ang="0">
                  <a:pos x="6" y="204"/>
                </a:cxn>
                <a:cxn ang="0">
                  <a:pos x="0" y="198"/>
                </a:cxn>
                <a:cxn ang="0">
                  <a:pos x="0" y="33"/>
                </a:cxn>
                <a:cxn ang="0">
                  <a:pos x="31" y="9"/>
                </a:cxn>
                <a:cxn ang="0">
                  <a:pos x="104" y="0"/>
                </a:cxn>
                <a:cxn ang="0">
                  <a:pos x="181" y="59"/>
                </a:cxn>
                <a:cxn ang="0">
                  <a:pos x="181" y="198"/>
                </a:cxn>
                <a:cxn ang="0">
                  <a:pos x="175" y="204"/>
                </a:cxn>
              </a:cxnLst>
              <a:rect l="0" t="0" r="r" b="b"/>
              <a:pathLst>
                <a:path w="181" h="204">
                  <a:moveTo>
                    <a:pt x="175" y="204"/>
                  </a:moveTo>
                  <a:cubicBezTo>
                    <a:pt x="129" y="204"/>
                    <a:pt x="129" y="204"/>
                    <a:pt x="129" y="204"/>
                  </a:cubicBezTo>
                  <a:cubicBezTo>
                    <a:pt x="125" y="204"/>
                    <a:pt x="122" y="202"/>
                    <a:pt x="122" y="198"/>
                  </a:cubicBezTo>
                  <a:cubicBezTo>
                    <a:pt x="122" y="67"/>
                    <a:pt x="122" y="67"/>
                    <a:pt x="122" y="67"/>
                  </a:cubicBezTo>
                  <a:cubicBezTo>
                    <a:pt x="122" y="46"/>
                    <a:pt x="114" y="39"/>
                    <a:pt x="96" y="39"/>
                  </a:cubicBezTo>
                  <a:cubicBezTo>
                    <a:pt x="78" y="39"/>
                    <a:pt x="58" y="44"/>
                    <a:pt x="58" y="44"/>
                  </a:cubicBezTo>
                  <a:cubicBezTo>
                    <a:pt x="58" y="198"/>
                    <a:pt x="58" y="198"/>
                    <a:pt x="58" y="198"/>
                  </a:cubicBezTo>
                  <a:cubicBezTo>
                    <a:pt x="58" y="202"/>
                    <a:pt x="56" y="204"/>
                    <a:pt x="52" y="204"/>
                  </a:cubicBezTo>
                  <a:cubicBezTo>
                    <a:pt x="6" y="204"/>
                    <a:pt x="6" y="204"/>
                    <a:pt x="6" y="204"/>
                  </a:cubicBezTo>
                  <a:cubicBezTo>
                    <a:pt x="2" y="204"/>
                    <a:pt x="0" y="202"/>
                    <a:pt x="0" y="198"/>
                  </a:cubicBezTo>
                  <a:cubicBezTo>
                    <a:pt x="0" y="33"/>
                    <a:pt x="0" y="33"/>
                    <a:pt x="0" y="33"/>
                  </a:cubicBezTo>
                  <a:cubicBezTo>
                    <a:pt x="0" y="18"/>
                    <a:pt x="9" y="14"/>
                    <a:pt x="31" y="9"/>
                  </a:cubicBezTo>
                  <a:cubicBezTo>
                    <a:pt x="50" y="4"/>
                    <a:pt x="80" y="0"/>
                    <a:pt x="104" y="0"/>
                  </a:cubicBezTo>
                  <a:cubicBezTo>
                    <a:pt x="152" y="0"/>
                    <a:pt x="181" y="11"/>
                    <a:pt x="181" y="59"/>
                  </a:cubicBezTo>
                  <a:cubicBezTo>
                    <a:pt x="181" y="198"/>
                    <a:pt x="181" y="198"/>
                    <a:pt x="181" y="198"/>
                  </a:cubicBezTo>
                  <a:cubicBezTo>
                    <a:pt x="181" y="202"/>
                    <a:pt x="178" y="204"/>
                    <a:pt x="175" y="2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1" name="Freeform 40"/>
            <p:cNvSpPr>
              <a:spLocks/>
            </p:cNvSpPr>
            <p:nvPr/>
          </p:nvSpPr>
          <p:spPr bwMode="auto">
            <a:xfrm>
              <a:off x="6804025" y="3122613"/>
              <a:ext cx="246063" cy="542925"/>
            </a:xfrm>
            <a:custGeom>
              <a:avLst/>
              <a:gdLst/>
              <a:ahLst/>
              <a:cxnLst>
                <a:cxn ang="0">
                  <a:pos x="121" y="256"/>
                </a:cxn>
                <a:cxn ang="0">
                  <a:pos x="116" y="262"/>
                </a:cxn>
                <a:cxn ang="0">
                  <a:pos x="68" y="269"/>
                </a:cxn>
                <a:cxn ang="0">
                  <a:pos x="0" y="207"/>
                </a:cxn>
                <a:cxn ang="0">
                  <a:pos x="0" y="16"/>
                </a:cxn>
                <a:cxn ang="0">
                  <a:pos x="7" y="7"/>
                </a:cxn>
                <a:cxn ang="0">
                  <a:pos x="50" y="0"/>
                </a:cxn>
                <a:cxn ang="0">
                  <a:pos x="52" y="0"/>
                </a:cxn>
                <a:cxn ang="0">
                  <a:pos x="58" y="6"/>
                </a:cxn>
                <a:cxn ang="0">
                  <a:pos x="58" y="67"/>
                </a:cxn>
                <a:cxn ang="0">
                  <a:pos x="109" y="67"/>
                </a:cxn>
                <a:cxn ang="0">
                  <a:pos x="115" y="72"/>
                </a:cxn>
                <a:cxn ang="0">
                  <a:pos x="115" y="103"/>
                </a:cxn>
                <a:cxn ang="0">
                  <a:pos x="109" y="108"/>
                </a:cxn>
                <a:cxn ang="0">
                  <a:pos x="58" y="108"/>
                </a:cxn>
                <a:cxn ang="0">
                  <a:pos x="58" y="204"/>
                </a:cxn>
                <a:cxn ang="0">
                  <a:pos x="83" y="228"/>
                </a:cxn>
                <a:cxn ang="0">
                  <a:pos x="110" y="225"/>
                </a:cxn>
                <a:cxn ang="0">
                  <a:pos x="111" y="225"/>
                </a:cxn>
                <a:cxn ang="0">
                  <a:pos x="116" y="229"/>
                </a:cxn>
                <a:cxn ang="0">
                  <a:pos x="121" y="253"/>
                </a:cxn>
                <a:cxn ang="0">
                  <a:pos x="121" y="256"/>
                </a:cxn>
              </a:cxnLst>
              <a:rect l="0" t="0" r="r" b="b"/>
              <a:pathLst>
                <a:path w="121" h="269">
                  <a:moveTo>
                    <a:pt x="121" y="256"/>
                  </a:moveTo>
                  <a:cubicBezTo>
                    <a:pt x="121" y="259"/>
                    <a:pt x="119" y="261"/>
                    <a:pt x="116" y="262"/>
                  </a:cubicBezTo>
                  <a:cubicBezTo>
                    <a:pt x="110" y="264"/>
                    <a:pt x="93" y="269"/>
                    <a:pt x="68" y="269"/>
                  </a:cubicBezTo>
                  <a:cubicBezTo>
                    <a:pt x="23" y="269"/>
                    <a:pt x="0" y="252"/>
                    <a:pt x="0" y="207"/>
                  </a:cubicBezTo>
                  <a:cubicBezTo>
                    <a:pt x="0" y="16"/>
                    <a:pt x="0" y="16"/>
                    <a:pt x="0" y="16"/>
                  </a:cubicBezTo>
                  <a:cubicBezTo>
                    <a:pt x="0" y="11"/>
                    <a:pt x="2" y="8"/>
                    <a:pt x="7" y="7"/>
                  </a:cubicBezTo>
                  <a:cubicBezTo>
                    <a:pt x="50" y="0"/>
                    <a:pt x="50" y="0"/>
                    <a:pt x="50" y="0"/>
                  </a:cubicBezTo>
                  <a:cubicBezTo>
                    <a:pt x="52" y="0"/>
                    <a:pt x="52" y="0"/>
                    <a:pt x="52" y="0"/>
                  </a:cubicBezTo>
                  <a:cubicBezTo>
                    <a:pt x="56" y="0"/>
                    <a:pt x="58" y="1"/>
                    <a:pt x="58" y="6"/>
                  </a:cubicBezTo>
                  <a:cubicBezTo>
                    <a:pt x="58" y="67"/>
                    <a:pt x="58" y="67"/>
                    <a:pt x="58" y="67"/>
                  </a:cubicBezTo>
                  <a:cubicBezTo>
                    <a:pt x="109" y="67"/>
                    <a:pt x="109" y="67"/>
                    <a:pt x="109" y="67"/>
                  </a:cubicBezTo>
                  <a:cubicBezTo>
                    <a:pt x="112" y="67"/>
                    <a:pt x="115" y="69"/>
                    <a:pt x="115" y="72"/>
                  </a:cubicBezTo>
                  <a:cubicBezTo>
                    <a:pt x="115" y="103"/>
                    <a:pt x="115" y="103"/>
                    <a:pt x="115" y="103"/>
                  </a:cubicBezTo>
                  <a:cubicBezTo>
                    <a:pt x="115" y="106"/>
                    <a:pt x="112" y="108"/>
                    <a:pt x="109" y="108"/>
                  </a:cubicBezTo>
                  <a:cubicBezTo>
                    <a:pt x="58" y="108"/>
                    <a:pt x="58" y="108"/>
                    <a:pt x="58" y="108"/>
                  </a:cubicBezTo>
                  <a:cubicBezTo>
                    <a:pt x="58" y="204"/>
                    <a:pt x="58" y="204"/>
                    <a:pt x="58" y="204"/>
                  </a:cubicBezTo>
                  <a:cubicBezTo>
                    <a:pt x="58" y="219"/>
                    <a:pt x="63" y="228"/>
                    <a:pt x="83" y="228"/>
                  </a:cubicBezTo>
                  <a:cubicBezTo>
                    <a:pt x="94" y="228"/>
                    <a:pt x="104" y="226"/>
                    <a:pt x="110" y="225"/>
                  </a:cubicBezTo>
                  <a:cubicBezTo>
                    <a:pt x="111" y="225"/>
                    <a:pt x="111" y="225"/>
                    <a:pt x="111" y="225"/>
                  </a:cubicBezTo>
                  <a:cubicBezTo>
                    <a:pt x="114" y="225"/>
                    <a:pt x="115" y="226"/>
                    <a:pt x="116" y="229"/>
                  </a:cubicBezTo>
                  <a:cubicBezTo>
                    <a:pt x="121" y="253"/>
                    <a:pt x="121" y="253"/>
                    <a:pt x="121" y="253"/>
                  </a:cubicBezTo>
                  <a:lnTo>
                    <a:pt x="121" y="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2" name="Freeform 41"/>
            <p:cNvSpPr>
              <a:spLocks noEditPoints="1"/>
            </p:cNvSpPr>
            <p:nvPr/>
          </p:nvSpPr>
          <p:spPr bwMode="auto">
            <a:xfrm>
              <a:off x="7083425" y="3248025"/>
              <a:ext cx="384175" cy="422275"/>
            </a:xfrm>
            <a:custGeom>
              <a:avLst/>
              <a:gdLst/>
              <a:ahLst/>
              <a:cxnLst>
                <a:cxn ang="0">
                  <a:pos x="189" y="119"/>
                </a:cxn>
                <a:cxn ang="0">
                  <a:pos x="180" y="129"/>
                </a:cxn>
                <a:cxn ang="0">
                  <a:pos x="58" y="129"/>
                </a:cxn>
                <a:cxn ang="0">
                  <a:pos x="74" y="161"/>
                </a:cxn>
                <a:cxn ang="0">
                  <a:pos x="115" y="170"/>
                </a:cxn>
                <a:cxn ang="0">
                  <a:pos x="167" y="161"/>
                </a:cxn>
                <a:cxn ang="0">
                  <a:pos x="168" y="161"/>
                </a:cxn>
                <a:cxn ang="0">
                  <a:pos x="174" y="167"/>
                </a:cxn>
                <a:cxn ang="0">
                  <a:pos x="179" y="188"/>
                </a:cxn>
                <a:cxn ang="0">
                  <a:pos x="180" y="190"/>
                </a:cxn>
                <a:cxn ang="0">
                  <a:pos x="176" y="196"/>
                </a:cxn>
                <a:cxn ang="0">
                  <a:pos x="105" y="209"/>
                </a:cxn>
                <a:cxn ang="0">
                  <a:pos x="0" y="105"/>
                </a:cxn>
                <a:cxn ang="0">
                  <a:pos x="95" y="0"/>
                </a:cxn>
                <a:cxn ang="0">
                  <a:pos x="171" y="26"/>
                </a:cxn>
                <a:cxn ang="0">
                  <a:pos x="190" y="101"/>
                </a:cxn>
                <a:cxn ang="0">
                  <a:pos x="189" y="119"/>
                </a:cxn>
                <a:cxn ang="0">
                  <a:pos x="132" y="92"/>
                </a:cxn>
                <a:cxn ang="0">
                  <a:pos x="130" y="65"/>
                </a:cxn>
                <a:cxn ang="0">
                  <a:pos x="96" y="38"/>
                </a:cxn>
                <a:cxn ang="0">
                  <a:pos x="60" y="63"/>
                </a:cxn>
                <a:cxn ang="0">
                  <a:pos x="58" y="94"/>
                </a:cxn>
                <a:cxn ang="0">
                  <a:pos x="132" y="94"/>
                </a:cxn>
                <a:cxn ang="0">
                  <a:pos x="132" y="92"/>
                </a:cxn>
              </a:cxnLst>
              <a:rect l="0" t="0" r="r" b="b"/>
              <a:pathLst>
                <a:path w="190" h="209">
                  <a:moveTo>
                    <a:pt x="189" y="119"/>
                  </a:moveTo>
                  <a:cubicBezTo>
                    <a:pt x="189" y="124"/>
                    <a:pt x="187" y="129"/>
                    <a:pt x="180" y="129"/>
                  </a:cubicBezTo>
                  <a:cubicBezTo>
                    <a:pt x="58" y="129"/>
                    <a:pt x="58" y="129"/>
                    <a:pt x="58" y="129"/>
                  </a:cubicBezTo>
                  <a:cubicBezTo>
                    <a:pt x="58" y="145"/>
                    <a:pt x="63" y="154"/>
                    <a:pt x="74" y="161"/>
                  </a:cubicBezTo>
                  <a:cubicBezTo>
                    <a:pt x="83" y="167"/>
                    <a:pt x="96" y="170"/>
                    <a:pt x="115" y="170"/>
                  </a:cubicBezTo>
                  <a:cubicBezTo>
                    <a:pt x="138" y="170"/>
                    <a:pt x="157" y="164"/>
                    <a:pt x="167" y="161"/>
                  </a:cubicBezTo>
                  <a:cubicBezTo>
                    <a:pt x="168" y="161"/>
                    <a:pt x="168" y="161"/>
                    <a:pt x="168" y="161"/>
                  </a:cubicBezTo>
                  <a:cubicBezTo>
                    <a:pt x="171" y="161"/>
                    <a:pt x="173" y="163"/>
                    <a:pt x="174" y="167"/>
                  </a:cubicBezTo>
                  <a:cubicBezTo>
                    <a:pt x="179" y="188"/>
                    <a:pt x="179" y="188"/>
                    <a:pt x="179" y="188"/>
                  </a:cubicBezTo>
                  <a:cubicBezTo>
                    <a:pt x="180" y="189"/>
                    <a:pt x="180" y="189"/>
                    <a:pt x="180" y="190"/>
                  </a:cubicBezTo>
                  <a:cubicBezTo>
                    <a:pt x="180" y="193"/>
                    <a:pt x="178" y="195"/>
                    <a:pt x="176" y="196"/>
                  </a:cubicBezTo>
                  <a:cubicBezTo>
                    <a:pt x="164" y="201"/>
                    <a:pt x="137" y="209"/>
                    <a:pt x="105" y="209"/>
                  </a:cubicBezTo>
                  <a:cubicBezTo>
                    <a:pt x="31" y="209"/>
                    <a:pt x="0" y="182"/>
                    <a:pt x="0" y="105"/>
                  </a:cubicBezTo>
                  <a:cubicBezTo>
                    <a:pt x="0" y="31"/>
                    <a:pt x="22" y="0"/>
                    <a:pt x="95" y="0"/>
                  </a:cubicBezTo>
                  <a:cubicBezTo>
                    <a:pt x="133" y="0"/>
                    <a:pt x="156" y="9"/>
                    <a:pt x="171" y="26"/>
                  </a:cubicBezTo>
                  <a:cubicBezTo>
                    <a:pt x="185" y="43"/>
                    <a:pt x="190" y="68"/>
                    <a:pt x="190" y="101"/>
                  </a:cubicBezTo>
                  <a:cubicBezTo>
                    <a:pt x="190" y="106"/>
                    <a:pt x="189" y="114"/>
                    <a:pt x="189" y="119"/>
                  </a:cubicBezTo>
                  <a:close/>
                  <a:moveTo>
                    <a:pt x="132" y="92"/>
                  </a:moveTo>
                  <a:cubicBezTo>
                    <a:pt x="132" y="81"/>
                    <a:pt x="131" y="73"/>
                    <a:pt x="130" y="65"/>
                  </a:cubicBezTo>
                  <a:cubicBezTo>
                    <a:pt x="125" y="45"/>
                    <a:pt x="115" y="38"/>
                    <a:pt x="96" y="38"/>
                  </a:cubicBezTo>
                  <a:cubicBezTo>
                    <a:pt x="72" y="38"/>
                    <a:pt x="63" y="46"/>
                    <a:pt x="60" y="63"/>
                  </a:cubicBezTo>
                  <a:cubicBezTo>
                    <a:pt x="58" y="73"/>
                    <a:pt x="58" y="82"/>
                    <a:pt x="58" y="94"/>
                  </a:cubicBezTo>
                  <a:cubicBezTo>
                    <a:pt x="132" y="94"/>
                    <a:pt x="132" y="94"/>
                    <a:pt x="132" y="94"/>
                  </a:cubicBezTo>
                  <a:lnTo>
                    <a:pt x="132"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3" name="Freeform 42"/>
            <p:cNvSpPr>
              <a:spLocks/>
            </p:cNvSpPr>
            <p:nvPr/>
          </p:nvSpPr>
          <p:spPr bwMode="auto">
            <a:xfrm>
              <a:off x="7515225" y="3248025"/>
              <a:ext cx="230188" cy="412750"/>
            </a:xfrm>
            <a:custGeom>
              <a:avLst/>
              <a:gdLst/>
              <a:ahLst/>
              <a:cxnLst>
                <a:cxn ang="0">
                  <a:pos x="107" y="43"/>
                </a:cxn>
                <a:cxn ang="0">
                  <a:pos x="59" y="48"/>
                </a:cxn>
                <a:cxn ang="0">
                  <a:pos x="59" y="198"/>
                </a:cxn>
                <a:cxn ang="0">
                  <a:pos x="53" y="204"/>
                </a:cxn>
                <a:cxn ang="0">
                  <a:pos x="6" y="204"/>
                </a:cxn>
                <a:cxn ang="0">
                  <a:pos x="0" y="198"/>
                </a:cxn>
                <a:cxn ang="0">
                  <a:pos x="0" y="32"/>
                </a:cxn>
                <a:cxn ang="0">
                  <a:pos x="17" y="13"/>
                </a:cxn>
                <a:cxn ang="0">
                  <a:pos x="63" y="4"/>
                </a:cxn>
                <a:cxn ang="0">
                  <a:pos x="100" y="0"/>
                </a:cxn>
                <a:cxn ang="0">
                  <a:pos x="103" y="0"/>
                </a:cxn>
                <a:cxn ang="0">
                  <a:pos x="111" y="2"/>
                </a:cxn>
                <a:cxn ang="0">
                  <a:pos x="114" y="8"/>
                </a:cxn>
                <a:cxn ang="0">
                  <a:pos x="114" y="36"/>
                </a:cxn>
                <a:cxn ang="0">
                  <a:pos x="107" y="43"/>
                </a:cxn>
              </a:cxnLst>
              <a:rect l="0" t="0" r="r" b="b"/>
              <a:pathLst>
                <a:path w="114" h="204">
                  <a:moveTo>
                    <a:pt x="107" y="43"/>
                  </a:moveTo>
                  <a:cubicBezTo>
                    <a:pt x="85" y="43"/>
                    <a:pt x="65" y="46"/>
                    <a:pt x="59" y="48"/>
                  </a:cubicBezTo>
                  <a:cubicBezTo>
                    <a:pt x="59" y="198"/>
                    <a:pt x="59" y="198"/>
                    <a:pt x="59" y="198"/>
                  </a:cubicBezTo>
                  <a:cubicBezTo>
                    <a:pt x="59" y="202"/>
                    <a:pt x="56" y="204"/>
                    <a:pt x="53" y="204"/>
                  </a:cubicBezTo>
                  <a:cubicBezTo>
                    <a:pt x="6" y="204"/>
                    <a:pt x="6" y="204"/>
                    <a:pt x="6" y="204"/>
                  </a:cubicBezTo>
                  <a:cubicBezTo>
                    <a:pt x="4" y="204"/>
                    <a:pt x="0" y="202"/>
                    <a:pt x="0" y="198"/>
                  </a:cubicBezTo>
                  <a:cubicBezTo>
                    <a:pt x="0" y="32"/>
                    <a:pt x="0" y="32"/>
                    <a:pt x="0" y="32"/>
                  </a:cubicBezTo>
                  <a:cubicBezTo>
                    <a:pt x="0" y="21"/>
                    <a:pt x="6" y="17"/>
                    <a:pt x="17" y="13"/>
                  </a:cubicBezTo>
                  <a:cubicBezTo>
                    <a:pt x="29" y="9"/>
                    <a:pt x="47" y="6"/>
                    <a:pt x="63" y="4"/>
                  </a:cubicBezTo>
                  <a:cubicBezTo>
                    <a:pt x="74" y="2"/>
                    <a:pt x="87" y="1"/>
                    <a:pt x="100" y="0"/>
                  </a:cubicBezTo>
                  <a:cubicBezTo>
                    <a:pt x="103" y="0"/>
                    <a:pt x="103" y="0"/>
                    <a:pt x="103" y="0"/>
                  </a:cubicBezTo>
                  <a:cubicBezTo>
                    <a:pt x="108" y="0"/>
                    <a:pt x="109" y="1"/>
                    <a:pt x="111" y="2"/>
                  </a:cubicBezTo>
                  <a:cubicBezTo>
                    <a:pt x="112" y="3"/>
                    <a:pt x="114" y="5"/>
                    <a:pt x="114" y="8"/>
                  </a:cubicBezTo>
                  <a:cubicBezTo>
                    <a:pt x="114" y="36"/>
                    <a:pt x="114" y="36"/>
                    <a:pt x="114" y="36"/>
                  </a:cubicBezTo>
                  <a:cubicBezTo>
                    <a:pt x="114" y="40"/>
                    <a:pt x="113" y="43"/>
                    <a:pt x="107"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4" name="Freeform 43"/>
            <p:cNvSpPr>
              <a:spLocks noEditPoints="1"/>
            </p:cNvSpPr>
            <p:nvPr/>
          </p:nvSpPr>
          <p:spPr bwMode="auto">
            <a:xfrm>
              <a:off x="7767638" y="3248025"/>
              <a:ext cx="371475" cy="422275"/>
            </a:xfrm>
            <a:custGeom>
              <a:avLst/>
              <a:gdLst/>
              <a:ahLst/>
              <a:cxnLst>
                <a:cxn ang="0">
                  <a:pos x="147" y="204"/>
                </a:cxn>
                <a:cxn ang="0">
                  <a:pos x="93" y="209"/>
                </a:cxn>
                <a:cxn ang="0">
                  <a:pos x="0" y="144"/>
                </a:cxn>
                <a:cxn ang="0">
                  <a:pos x="59" y="85"/>
                </a:cxn>
                <a:cxn ang="0">
                  <a:pos x="125" y="74"/>
                </a:cxn>
                <a:cxn ang="0">
                  <a:pos x="125" y="64"/>
                </a:cxn>
                <a:cxn ang="0">
                  <a:pos x="116" y="43"/>
                </a:cxn>
                <a:cxn ang="0">
                  <a:pos x="89" y="40"/>
                </a:cxn>
                <a:cxn ang="0">
                  <a:pos x="25" y="50"/>
                </a:cxn>
                <a:cxn ang="0">
                  <a:pos x="23" y="51"/>
                </a:cxn>
                <a:cxn ang="0">
                  <a:pos x="19" y="47"/>
                </a:cxn>
                <a:cxn ang="0">
                  <a:pos x="13" y="21"/>
                </a:cxn>
                <a:cxn ang="0">
                  <a:pos x="13" y="19"/>
                </a:cxn>
                <a:cxn ang="0">
                  <a:pos x="17" y="13"/>
                </a:cxn>
                <a:cxn ang="0">
                  <a:pos x="102" y="0"/>
                </a:cxn>
                <a:cxn ang="0">
                  <a:pos x="159" y="11"/>
                </a:cxn>
                <a:cxn ang="0">
                  <a:pos x="184" y="60"/>
                </a:cxn>
                <a:cxn ang="0">
                  <a:pos x="184" y="164"/>
                </a:cxn>
                <a:cxn ang="0">
                  <a:pos x="147" y="204"/>
                </a:cxn>
                <a:cxn ang="0">
                  <a:pos x="126" y="109"/>
                </a:cxn>
                <a:cxn ang="0">
                  <a:pos x="85" y="116"/>
                </a:cxn>
                <a:cxn ang="0">
                  <a:pos x="58" y="143"/>
                </a:cxn>
                <a:cxn ang="0">
                  <a:pos x="94" y="172"/>
                </a:cxn>
                <a:cxn ang="0">
                  <a:pos x="126" y="168"/>
                </a:cxn>
                <a:cxn ang="0">
                  <a:pos x="126" y="109"/>
                </a:cxn>
              </a:cxnLst>
              <a:rect l="0" t="0" r="r" b="b"/>
              <a:pathLst>
                <a:path w="184" h="209">
                  <a:moveTo>
                    <a:pt x="147" y="204"/>
                  </a:moveTo>
                  <a:cubicBezTo>
                    <a:pt x="133" y="207"/>
                    <a:pt x="115" y="209"/>
                    <a:pt x="93" y="209"/>
                  </a:cubicBezTo>
                  <a:cubicBezTo>
                    <a:pt x="49" y="209"/>
                    <a:pt x="0" y="203"/>
                    <a:pt x="0" y="144"/>
                  </a:cubicBezTo>
                  <a:cubicBezTo>
                    <a:pt x="0" y="95"/>
                    <a:pt x="31" y="89"/>
                    <a:pt x="59" y="85"/>
                  </a:cubicBezTo>
                  <a:cubicBezTo>
                    <a:pt x="125" y="74"/>
                    <a:pt x="125" y="74"/>
                    <a:pt x="125" y="74"/>
                  </a:cubicBezTo>
                  <a:cubicBezTo>
                    <a:pt x="125" y="64"/>
                    <a:pt x="125" y="64"/>
                    <a:pt x="125" y="64"/>
                  </a:cubicBezTo>
                  <a:cubicBezTo>
                    <a:pt x="125" y="54"/>
                    <a:pt x="124" y="47"/>
                    <a:pt x="116" y="43"/>
                  </a:cubicBezTo>
                  <a:cubicBezTo>
                    <a:pt x="111" y="41"/>
                    <a:pt x="102" y="40"/>
                    <a:pt x="89" y="40"/>
                  </a:cubicBezTo>
                  <a:cubicBezTo>
                    <a:pt x="65" y="40"/>
                    <a:pt x="36" y="48"/>
                    <a:pt x="25" y="50"/>
                  </a:cubicBezTo>
                  <a:cubicBezTo>
                    <a:pt x="25" y="50"/>
                    <a:pt x="24" y="51"/>
                    <a:pt x="23" y="51"/>
                  </a:cubicBezTo>
                  <a:cubicBezTo>
                    <a:pt x="21" y="51"/>
                    <a:pt x="19" y="49"/>
                    <a:pt x="19" y="47"/>
                  </a:cubicBezTo>
                  <a:cubicBezTo>
                    <a:pt x="13" y="21"/>
                    <a:pt x="13" y="21"/>
                    <a:pt x="13" y="21"/>
                  </a:cubicBezTo>
                  <a:cubicBezTo>
                    <a:pt x="13" y="20"/>
                    <a:pt x="13" y="20"/>
                    <a:pt x="13" y="19"/>
                  </a:cubicBezTo>
                  <a:cubicBezTo>
                    <a:pt x="13" y="16"/>
                    <a:pt x="15" y="14"/>
                    <a:pt x="17" y="13"/>
                  </a:cubicBezTo>
                  <a:cubicBezTo>
                    <a:pt x="25" y="10"/>
                    <a:pt x="61" y="0"/>
                    <a:pt x="102" y="0"/>
                  </a:cubicBezTo>
                  <a:cubicBezTo>
                    <a:pt x="128" y="0"/>
                    <a:pt x="147" y="4"/>
                    <a:pt x="159" y="11"/>
                  </a:cubicBezTo>
                  <a:cubicBezTo>
                    <a:pt x="178" y="21"/>
                    <a:pt x="184" y="38"/>
                    <a:pt x="184" y="60"/>
                  </a:cubicBezTo>
                  <a:cubicBezTo>
                    <a:pt x="184" y="164"/>
                    <a:pt x="184" y="164"/>
                    <a:pt x="184" y="164"/>
                  </a:cubicBezTo>
                  <a:cubicBezTo>
                    <a:pt x="184" y="193"/>
                    <a:pt x="173" y="198"/>
                    <a:pt x="147" y="204"/>
                  </a:cubicBezTo>
                  <a:close/>
                  <a:moveTo>
                    <a:pt x="126" y="109"/>
                  </a:moveTo>
                  <a:cubicBezTo>
                    <a:pt x="85" y="116"/>
                    <a:pt x="85" y="116"/>
                    <a:pt x="85" y="116"/>
                  </a:cubicBezTo>
                  <a:cubicBezTo>
                    <a:pt x="71" y="118"/>
                    <a:pt x="58" y="120"/>
                    <a:pt x="58" y="143"/>
                  </a:cubicBezTo>
                  <a:cubicBezTo>
                    <a:pt x="58" y="170"/>
                    <a:pt x="79" y="172"/>
                    <a:pt x="94" y="172"/>
                  </a:cubicBezTo>
                  <a:cubicBezTo>
                    <a:pt x="108" y="172"/>
                    <a:pt x="121" y="169"/>
                    <a:pt x="126" y="168"/>
                  </a:cubicBezTo>
                  <a:lnTo>
                    <a:pt x="126"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5" name="Freeform 44"/>
            <p:cNvSpPr>
              <a:spLocks noEditPoints="1"/>
            </p:cNvSpPr>
            <p:nvPr/>
          </p:nvSpPr>
          <p:spPr bwMode="auto">
            <a:xfrm>
              <a:off x="4910138" y="2455863"/>
              <a:ext cx="1085850" cy="919162"/>
            </a:xfrm>
            <a:custGeom>
              <a:avLst/>
              <a:gdLst/>
              <a:ahLst/>
              <a:cxnLst>
                <a:cxn ang="0">
                  <a:pos x="470" y="238"/>
                </a:cxn>
                <a:cxn ang="0">
                  <a:pos x="497" y="67"/>
                </a:cxn>
                <a:cxn ang="0">
                  <a:pos x="326" y="39"/>
                </a:cxn>
                <a:cxn ang="0">
                  <a:pos x="220" y="250"/>
                </a:cxn>
                <a:cxn ang="0">
                  <a:pos x="50" y="276"/>
                </a:cxn>
                <a:cxn ang="0">
                  <a:pos x="29" y="404"/>
                </a:cxn>
                <a:cxn ang="0">
                  <a:pos x="158" y="425"/>
                </a:cxn>
                <a:cxn ang="0">
                  <a:pos x="235" y="272"/>
                </a:cxn>
                <a:cxn ang="0">
                  <a:pos x="470" y="238"/>
                </a:cxn>
                <a:cxn ang="0">
                  <a:pos x="295" y="137"/>
                </a:cxn>
                <a:cxn ang="0">
                  <a:pos x="381" y="151"/>
                </a:cxn>
                <a:cxn ang="0">
                  <a:pos x="367" y="237"/>
                </a:cxn>
                <a:cxn ang="0">
                  <a:pos x="242" y="254"/>
                </a:cxn>
                <a:cxn ang="0">
                  <a:pos x="238" y="254"/>
                </a:cxn>
                <a:cxn ang="0">
                  <a:pos x="239" y="250"/>
                </a:cxn>
                <a:cxn ang="0">
                  <a:pos x="295" y="137"/>
                </a:cxn>
                <a:cxn ang="0">
                  <a:pos x="175" y="356"/>
                </a:cxn>
                <a:cxn ang="0">
                  <a:pos x="110" y="346"/>
                </a:cxn>
                <a:cxn ang="0">
                  <a:pos x="121" y="281"/>
                </a:cxn>
                <a:cxn ang="0">
                  <a:pos x="214" y="268"/>
                </a:cxn>
                <a:cxn ang="0">
                  <a:pos x="218" y="268"/>
                </a:cxn>
                <a:cxn ang="0">
                  <a:pos x="217" y="272"/>
                </a:cxn>
                <a:cxn ang="0">
                  <a:pos x="175" y="356"/>
                </a:cxn>
              </a:cxnLst>
              <a:rect l="0" t="0" r="r" b="b"/>
              <a:pathLst>
                <a:path w="537" h="455">
                  <a:moveTo>
                    <a:pt x="470" y="238"/>
                  </a:moveTo>
                  <a:cubicBezTo>
                    <a:pt x="524" y="198"/>
                    <a:pt x="537" y="122"/>
                    <a:pt x="497" y="67"/>
                  </a:cubicBezTo>
                  <a:cubicBezTo>
                    <a:pt x="458" y="12"/>
                    <a:pt x="381" y="0"/>
                    <a:pt x="326" y="39"/>
                  </a:cubicBezTo>
                  <a:cubicBezTo>
                    <a:pt x="283" y="71"/>
                    <a:pt x="237" y="199"/>
                    <a:pt x="220" y="250"/>
                  </a:cubicBezTo>
                  <a:cubicBezTo>
                    <a:pt x="176" y="251"/>
                    <a:pt x="81" y="253"/>
                    <a:pt x="50" y="276"/>
                  </a:cubicBezTo>
                  <a:cubicBezTo>
                    <a:pt x="9" y="306"/>
                    <a:pt x="0" y="363"/>
                    <a:pt x="29" y="404"/>
                  </a:cubicBezTo>
                  <a:cubicBezTo>
                    <a:pt x="59" y="445"/>
                    <a:pt x="116" y="455"/>
                    <a:pt x="158" y="425"/>
                  </a:cubicBezTo>
                  <a:cubicBezTo>
                    <a:pt x="189" y="402"/>
                    <a:pt x="222" y="313"/>
                    <a:pt x="235" y="272"/>
                  </a:cubicBezTo>
                  <a:cubicBezTo>
                    <a:pt x="289" y="272"/>
                    <a:pt x="426" y="269"/>
                    <a:pt x="470" y="238"/>
                  </a:cubicBezTo>
                  <a:close/>
                  <a:moveTo>
                    <a:pt x="295" y="137"/>
                  </a:moveTo>
                  <a:cubicBezTo>
                    <a:pt x="322" y="117"/>
                    <a:pt x="361" y="123"/>
                    <a:pt x="381" y="151"/>
                  </a:cubicBezTo>
                  <a:cubicBezTo>
                    <a:pt x="401" y="178"/>
                    <a:pt x="395" y="217"/>
                    <a:pt x="367" y="237"/>
                  </a:cubicBezTo>
                  <a:cubicBezTo>
                    <a:pt x="343" y="255"/>
                    <a:pt x="261" y="254"/>
                    <a:pt x="242" y="254"/>
                  </a:cubicBezTo>
                  <a:cubicBezTo>
                    <a:pt x="239" y="254"/>
                    <a:pt x="238" y="254"/>
                    <a:pt x="238" y="254"/>
                  </a:cubicBezTo>
                  <a:cubicBezTo>
                    <a:pt x="238" y="254"/>
                    <a:pt x="238" y="253"/>
                    <a:pt x="239" y="250"/>
                  </a:cubicBezTo>
                  <a:cubicBezTo>
                    <a:pt x="245" y="232"/>
                    <a:pt x="270" y="154"/>
                    <a:pt x="295" y="137"/>
                  </a:cubicBezTo>
                  <a:close/>
                  <a:moveTo>
                    <a:pt x="175" y="356"/>
                  </a:moveTo>
                  <a:cubicBezTo>
                    <a:pt x="154" y="371"/>
                    <a:pt x="125" y="367"/>
                    <a:pt x="110" y="346"/>
                  </a:cubicBezTo>
                  <a:cubicBezTo>
                    <a:pt x="95" y="325"/>
                    <a:pt x="100" y="296"/>
                    <a:pt x="121" y="281"/>
                  </a:cubicBezTo>
                  <a:cubicBezTo>
                    <a:pt x="139" y="268"/>
                    <a:pt x="198" y="268"/>
                    <a:pt x="214" y="268"/>
                  </a:cubicBezTo>
                  <a:cubicBezTo>
                    <a:pt x="216" y="268"/>
                    <a:pt x="218" y="268"/>
                    <a:pt x="218" y="268"/>
                  </a:cubicBezTo>
                  <a:cubicBezTo>
                    <a:pt x="218" y="268"/>
                    <a:pt x="218" y="270"/>
                    <a:pt x="217" y="272"/>
                  </a:cubicBezTo>
                  <a:cubicBezTo>
                    <a:pt x="212" y="288"/>
                    <a:pt x="193" y="343"/>
                    <a:pt x="175" y="3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grpSp>
    </p:spTree>
    <p:extLst>
      <p:ext uri="{BB962C8B-B14F-4D97-AF65-F5344CB8AC3E}">
        <p14:creationId xmlns:p14="http://schemas.microsoft.com/office/powerpoint/2010/main" val="229985516"/>
      </p:ext>
    </p:extLst>
  </p:cSld>
  <p:clrMapOvr>
    <a:masterClrMapping/>
  </p:clrMapOvr>
  <p:transition xmlns:p14="http://schemas.microsoft.com/office/powerpoint/2010/mai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a:solidFill>
                <a:srgbClr val="B4B4B4"/>
              </a:solidFill>
            </a:endParaRPr>
          </a:p>
        </p:txBody>
      </p:sp>
      <p:sp>
        <p:nvSpPr>
          <p:cNvPr id="5" name="Slide Number Placeholder 4"/>
          <p:cNvSpPr>
            <a:spLocks noGrp="1"/>
          </p:cNvSpPr>
          <p:nvPr>
            <p:ph type="sldNum" sz="quarter" idx="12"/>
          </p:nvPr>
        </p:nvSpPr>
        <p:spPr/>
        <p:txBody>
          <a:bodyPr/>
          <a:lstStyle/>
          <a:p>
            <a:fld id="{52BB5B38-2141-4D75-B405-23F83BDD5945}" type="slidenum">
              <a:rPr lang="en-US" smtClean="0">
                <a:solidFill>
                  <a:srgbClr val="B4B4B4"/>
                </a:solidFill>
              </a:rPr>
              <a:pPr/>
              <a:t>‹#›</a:t>
            </a:fld>
            <a:endParaRPr lang="en-US">
              <a:solidFill>
                <a:srgbClr val="B4B4B4"/>
              </a:solidFill>
            </a:endParaRPr>
          </a:p>
        </p:txBody>
      </p:sp>
      <p:grpSp>
        <p:nvGrpSpPr>
          <p:cNvPr id="33" name="Group 7"/>
          <p:cNvGrpSpPr>
            <a:grpSpLocks noChangeAspect="1"/>
          </p:cNvGrpSpPr>
          <p:nvPr userDrawn="1"/>
        </p:nvGrpSpPr>
        <p:grpSpPr>
          <a:xfrm>
            <a:off x="336180" y="4872435"/>
            <a:ext cx="689616" cy="194526"/>
            <a:chOff x="4910138" y="2455863"/>
            <a:chExt cx="3228975" cy="1214437"/>
          </a:xfrm>
          <a:solidFill>
            <a:schemeClr val="tx1"/>
          </a:solidFill>
        </p:grpSpPr>
        <p:sp>
          <p:nvSpPr>
            <p:cNvPr id="34" name="Freeform 33"/>
            <p:cNvSpPr>
              <a:spLocks/>
            </p:cNvSpPr>
            <p:nvPr/>
          </p:nvSpPr>
          <p:spPr bwMode="auto">
            <a:xfrm>
              <a:off x="5408613" y="3094038"/>
              <a:ext cx="492125" cy="566737"/>
            </a:xfrm>
            <a:custGeom>
              <a:avLst/>
              <a:gdLst/>
              <a:ahLst/>
              <a:cxnLst>
                <a:cxn ang="0">
                  <a:pos x="243" y="274"/>
                </a:cxn>
                <a:cxn ang="0">
                  <a:pos x="238" y="280"/>
                </a:cxn>
                <a:cxn ang="0">
                  <a:pos x="174" y="280"/>
                </a:cxn>
                <a:cxn ang="0">
                  <a:pos x="166" y="276"/>
                </a:cxn>
                <a:cxn ang="0">
                  <a:pos x="81" y="162"/>
                </a:cxn>
                <a:cxn ang="0">
                  <a:pos x="63" y="162"/>
                </a:cxn>
                <a:cxn ang="0">
                  <a:pos x="63" y="274"/>
                </a:cxn>
                <a:cxn ang="0">
                  <a:pos x="57" y="280"/>
                </a:cxn>
                <a:cxn ang="0">
                  <a:pos x="6" y="280"/>
                </a:cxn>
                <a:cxn ang="0">
                  <a:pos x="0" y="274"/>
                </a:cxn>
                <a:cxn ang="0">
                  <a:pos x="0" y="5"/>
                </a:cxn>
                <a:cxn ang="0">
                  <a:pos x="6" y="0"/>
                </a:cxn>
                <a:cxn ang="0">
                  <a:pos x="57" y="0"/>
                </a:cxn>
                <a:cxn ang="0">
                  <a:pos x="63" y="5"/>
                </a:cxn>
                <a:cxn ang="0">
                  <a:pos x="63" y="116"/>
                </a:cxn>
                <a:cxn ang="0">
                  <a:pos x="81" y="116"/>
                </a:cxn>
                <a:cxn ang="0">
                  <a:pos x="163" y="3"/>
                </a:cxn>
                <a:cxn ang="0">
                  <a:pos x="169" y="0"/>
                </a:cxn>
                <a:cxn ang="0">
                  <a:pos x="170" y="0"/>
                </a:cxn>
                <a:cxn ang="0">
                  <a:pos x="230" y="0"/>
                </a:cxn>
                <a:cxn ang="0">
                  <a:pos x="235" y="6"/>
                </a:cxn>
                <a:cxn ang="0">
                  <a:pos x="234" y="9"/>
                </a:cxn>
                <a:cxn ang="0">
                  <a:pos x="134" y="137"/>
                </a:cxn>
                <a:cxn ang="0">
                  <a:pos x="242" y="271"/>
                </a:cxn>
                <a:cxn ang="0">
                  <a:pos x="243" y="274"/>
                </a:cxn>
              </a:cxnLst>
              <a:rect l="0" t="0" r="r" b="b"/>
              <a:pathLst>
                <a:path w="243" h="280">
                  <a:moveTo>
                    <a:pt x="243" y="274"/>
                  </a:moveTo>
                  <a:cubicBezTo>
                    <a:pt x="243" y="277"/>
                    <a:pt x="240" y="280"/>
                    <a:pt x="238" y="280"/>
                  </a:cubicBezTo>
                  <a:cubicBezTo>
                    <a:pt x="174" y="280"/>
                    <a:pt x="174" y="280"/>
                    <a:pt x="174" y="280"/>
                  </a:cubicBezTo>
                  <a:cubicBezTo>
                    <a:pt x="170" y="280"/>
                    <a:pt x="167" y="278"/>
                    <a:pt x="166" y="276"/>
                  </a:cubicBezTo>
                  <a:cubicBezTo>
                    <a:pt x="81" y="162"/>
                    <a:pt x="81" y="162"/>
                    <a:pt x="81" y="162"/>
                  </a:cubicBezTo>
                  <a:cubicBezTo>
                    <a:pt x="63" y="162"/>
                    <a:pt x="63" y="162"/>
                    <a:pt x="63" y="162"/>
                  </a:cubicBezTo>
                  <a:cubicBezTo>
                    <a:pt x="63" y="274"/>
                    <a:pt x="63" y="274"/>
                    <a:pt x="63" y="274"/>
                  </a:cubicBezTo>
                  <a:cubicBezTo>
                    <a:pt x="63" y="278"/>
                    <a:pt x="60" y="280"/>
                    <a:pt x="57" y="280"/>
                  </a:cubicBezTo>
                  <a:cubicBezTo>
                    <a:pt x="6" y="280"/>
                    <a:pt x="6" y="280"/>
                    <a:pt x="6" y="280"/>
                  </a:cubicBezTo>
                  <a:cubicBezTo>
                    <a:pt x="3" y="280"/>
                    <a:pt x="0" y="278"/>
                    <a:pt x="0" y="274"/>
                  </a:cubicBezTo>
                  <a:cubicBezTo>
                    <a:pt x="0" y="5"/>
                    <a:pt x="0" y="5"/>
                    <a:pt x="0" y="5"/>
                  </a:cubicBezTo>
                  <a:cubicBezTo>
                    <a:pt x="0" y="2"/>
                    <a:pt x="3" y="0"/>
                    <a:pt x="6" y="0"/>
                  </a:cubicBezTo>
                  <a:cubicBezTo>
                    <a:pt x="57" y="0"/>
                    <a:pt x="57" y="0"/>
                    <a:pt x="57" y="0"/>
                  </a:cubicBezTo>
                  <a:cubicBezTo>
                    <a:pt x="60" y="0"/>
                    <a:pt x="63" y="2"/>
                    <a:pt x="63" y="5"/>
                  </a:cubicBezTo>
                  <a:cubicBezTo>
                    <a:pt x="63" y="116"/>
                    <a:pt x="63" y="116"/>
                    <a:pt x="63" y="116"/>
                  </a:cubicBezTo>
                  <a:cubicBezTo>
                    <a:pt x="81" y="116"/>
                    <a:pt x="81" y="116"/>
                    <a:pt x="81" y="116"/>
                  </a:cubicBezTo>
                  <a:cubicBezTo>
                    <a:pt x="163" y="3"/>
                    <a:pt x="163" y="3"/>
                    <a:pt x="163" y="3"/>
                  </a:cubicBezTo>
                  <a:cubicBezTo>
                    <a:pt x="165" y="1"/>
                    <a:pt x="166" y="0"/>
                    <a:pt x="169" y="0"/>
                  </a:cubicBezTo>
                  <a:cubicBezTo>
                    <a:pt x="170" y="0"/>
                    <a:pt x="170" y="0"/>
                    <a:pt x="170" y="0"/>
                  </a:cubicBezTo>
                  <a:cubicBezTo>
                    <a:pt x="230" y="0"/>
                    <a:pt x="230" y="0"/>
                    <a:pt x="230" y="0"/>
                  </a:cubicBezTo>
                  <a:cubicBezTo>
                    <a:pt x="232" y="0"/>
                    <a:pt x="235" y="3"/>
                    <a:pt x="235" y="6"/>
                  </a:cubicBezTo>
                  <a:cubicBezTo>
                    <a:pt x="235" y="7"/>
                    <a:pt x="234" y="8"/>
                    <a:pt x="234" y="9"/>
                  </a:cubicBezTo>
                  <a:cubicBezTo>
                    <a:pt x="134" y="137"/>
                    <a:pt x="134" y="137"/>
                    <a:pt x="134" y="137"/>
                  </a:cubicBezTo>
                  <a:cubicBezTo>
                    <a:pt x="242" y="271"/>
                    <a:pt x="242" y="271"/>
                    <a:pt x="242" y="271"/>
                  </a:cubicBezTo>
                  <a:cubicBezTo>
                    <a:pt x="242" y="272"/>
                    <a:pt x="243" y="273"/>
                    <a:pt x="243"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5" name="Freeform 34"/>
            <p:cNvSpPr>
              <a:spLocks noEditPoints="1"/>
            </p:cNvSpPr>
            <p:nvPr/>
          </p:nvSpPr>
          <p:spPr bwMode="auto">
            <a:xfrm>
              <a:off x="5903913" y="3248025"/>
              <a:ext cx="390525" cy="422275"/>
            </a:xfrm>
            <a:custGeom>
              <a:avLst/>
              <a:gdLst/>
              <a:ahLst/>
              <a:cxnLst>
                <a:cxn ang="0">
                  <a:pos x="97" y="209"/>
                </a:cxn>
                <a:cxn ang="0">
                  <a:pos x="0" y="104"/>
                </a:cxn>
                <a:cxn ang="0">
                  <a:pos x="97" y="0"/>
                </a:cxn>
                <a:cxn ang="0">
                  <a:pos x="193" y="104"/>
                </a:cxn>
                <a:cxn ang="0">
                  <a:pos x="97" y="209"/>
                </a:cxn>
                <a:cxn ang="0">
                  <a:pos x="97" y="39"/>
                </a:cxn>
                <a:cxn ang="0">
                  <a:pos x="60" y="104"/>
                </a:cxn>
                <a:cxn ang="0">
                  <a:pos x="97" y="169"/>
                </a:cxn>
                <a:cxn ang="0">
                  <a:pos x="133" y="104"/>
                </a:cxn>
                <a:cxn ang="0">
                  <a:pos x="97" y="39"/>
                </a:cxn>
              </a:cxnLst>
              <a:rect l="0" t="0" r="r" b="b"/>
              <a:pathLst>
                <a:path w="193" h="209">
                  <a:moveTo>
                    <a:pt x="97" y="209"/>
                  </a:moveTo>
                  <a:cubicBezTo>
                    <a:pt x="11" y="209"/>
                    <a:pt x="0" y="163"/>
                    <a:pt x="0" y="104"/>
                  </a:cubicBezTo>
                  <a:cubicBezTo>
                    <a:pt x="0" y="46"/>
                    <a:pt x="11" y="0"/>
                    <a:pt x="97" y="0"/>
                  </a:cubicBezTo>
                  <a:cubicBezTo>
                    <a:pt x="182" y="0"/>
                    <a:pt x="193" y="46"/>
                    <a:pt x="193" y="104"/>
                  </a:cubicBezTo>
                  <a:cubicBezTo>
                    <a:pt x="193" y="163"/>
                    <a:pt x="182" y="209"/>
                    <a:pt x="97" y="209"/>
                  </a:cubicBezTo>
                  <a:close/>
                  <a:moveTo>
                    <a:pt x="97" y="39"/>
                  </a:moveTo>
                  <a:cubicBezTo>
                    <a:pt x="61" y="39"/>
                    <a:pt x="60" y="60"/>
                    <a:pt x="60" y="104"/>
                  </a:cubicBezTo>
                  <a:cubicBezTo>
                    <a:pt x="60" y="149"/>
                    <a:pt x="61" y="169"/>
                    <a:pt x="97" y="169"/>
                  </a:cubicBezTo>
                  <a:cubicBezTo>
                    <a:pt x="132" y="169"/>
                    <a:pt x="133" y="149"/>
                    <a:pt x="133" y="104"/>
                  </a:cubicBezTo>
                  <a:cubicBezTo>
                    <a:pt x="133" y="60"/>
                    <a:pt x="132" y="39"/>
                    <a:pt x="97"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6" name="Freeform 35"/>
            <p:cNvSpPr>
              <a:spLocks/>
            </p:cNvSpPr>
            <p:nvPr/>
          </p:nvSpPr>
          <p:spPr bwMode="auto">
            <a:xfrm>
              <a:off x="6359525" y="3248025"/>
              <a:ext cx="366713" cy="412750"/>
            </a:xfrm>
            <a:custGeom>
              <a:avLst/>
              <a:gdLst/>
              <a:ahLst/>
              <a:cxnLst>
                <a:cxn ang="0">
                  <a:pos x="175" y="204"/>
                </a:cxn>
                <a:cxn ang="0">
                  <a:pos x="129" y="204"/>
                </a:cxn>
                <a:cxn ang="0">
                  <a:pos x="122" y="198"/>
                </a:cxn>
                <a:cxn ang="0">
                  <a:pos x="122" y="67"/>
                </a:cxn>
                <a:cxn ang="0">
                  <a:pos x="96" y="39"/>
                </a:cxn>
                <a:cxn ang="0">
                  <a:pos x="58" y="44"/>
                </a:cxn>
                <a:cxn ang="0">
                  <a:pos x="58" y="198"/>
                </a:cxn>
                <a:cxn ang="0">
                  <a:pos x="52" y="204"/>
                </a:cxn>
                <a:cxn ang="0">
                  <a:pos x="6" y="204"/>
                </a:cxn>
                <a:cxn ang="0">
                  <a:pos x="0" y="198"/>
                </a:cxn>
                <a:cxn ang="0">
                  <a:pos x="0" y="33"/>
                </a:cxn>
                <a:cxn ang="0">
                  <a:pos x="31" y="9"/>
                </a:cxn>
                <a:cxn ang="0">
                  <a:pos x="104" y="0"/>
                </a:cxn>
                <a:cxn ang="0">
                  <a:pos x="181" y="59"/>
                </a:cxn>
                <a:cxn ang="0">
                  <a:pos x="181" y="198"/>
                </a:cxn>
                <a:cxn ang="0">
                  <a:pos x="175" y="204"/>
                </a:cxn>
              </a:cxnLst>
              <a:rect l="0" t="0" r="r" b="b"/>
              <a:pathLst>
                <a:path w="181" h="204">
                  <a:moveTo>
                    <a:pt x="175" y="204"/>
                  </a:moveTo>
                  <a:cubicBezTo>
                    <a:pt x="129" y="204"/>
                    <a:pt x="129" y="204"/>
                    <a:pt x="129" y="204"/>
                  </a:cubicBezTo>
                  <a:cubicBezTo>
                    <a:pt x="125" y="204"/>
                    <a:pt x="122" y="202"/>
                    <a:pt x="122" y="198"/>
                  </a:cubicBezTo>
                  <a:cubicBezTo>
                    <a:pt x="122" y="67"/>
                    <a:pt x="122" y="67"/>
                    <a:pt x="122" y="67"/>
                  </a:cubicBezTo>
                  <a:cubicBezTo>
                    <a:pt x="122" y="46"/>
                    <a:pt x="114" y="39"/>
                    <a:pt x="96" y="39"/>
                  </a:cubicBezTo>
                  <a:cubicBezTo>
                    <a:pt x="78" y="39"/>
                    <a:pt x="58" y="44"/>
                    <a:pt x="58" y="44"/>
                  </a:cubicBezTo>
                  <a:cubicBezTo>
                    <a:pt x="58" y="198"/>
                    <a:pt x="58" y="198"/>
                    <a:pt x="58" y="198"/>
                  </a:cubicBezTo>
                  <a:cubicBezTo>
                    <a:pt x="58" y="202"/>
                    <a:pt x="56" y="204"/>
                    <a:pt x="52" y="204"/>
                  </a:cubicBezTo>
                  <a:cubicBezTo>
                    <a:pt x="6" y="204"/>
                    <a:pt x="6" y="204"/>
                    <a:pt x="6" y="204"/>
                  </a:cubicBezTo>
                  <a:cubicBezTo>
                    <a:pt x="2" y="204"/>
                    <a:pt x="0" y="202"/>
                    <a:pt x="0" y="198"/>
                  </a:cubicBezTo>
                  <a:cubicBezTo>
                    <a:pt x="0" y="33"/>
                    <a:pt x="0" y="33"/>
                    <a:pt x="0" y="33"/>
                  </a:cubicBezTo>
                  <a:cubicBezTo>
                    <a:pt x="0" y="18"/>
                    <a:pt x="9" y="14"/>
                    <a:pt x="31" y="9"/>
                  </a:cubicBezTo>
                  <a:cubicBezTo>
                    <a:pt x="50" y="4"/>
                    <a:pt x="80" y="0"/>
                    <a:pt x="104" y="0"/>
                  </a:cubicBezTo>
                  <a:cubicBezTo>
                    <a:pt x="152" y="0"/>
                    <a:pt x="181" y="11"/>
                    <a:pt x="181" y="59"/>
                  </a:cubicBezTo>
                  <a:cubicBezTo>
                    <a:pt x="181" y="198"/>
                    <a:pt x="181" y="198"/>
                    <a:pt x="181" y="198"/>
                  </a:cubicBezTo>
                  <a:cubicBezTo>
                    <a:pt x="181" y="202"/>
                    <a:pt x="178" y="204"/>
                    <a:pt x="175" y="2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7" name="Freeform 36"/>
            <p:cNvSpPr>
              <a:spLocks/>
            </p:cNvSpPr>
            <p:nvPr/>
          </p:nvSpPr>
          <p:spPr bwMode="auto">
            <a:xfrm>
              <a:off x="6804025" y="3122613"/>
              <a:ext cx="246063" cy="542925"/>
            </a:xfrm>
            <a:custGeom>
              <a:avLst/>
              <a:gdLst/>
              <a:ahLst/>
              <a:cxnLst>
                <a:cxn ang="0">
                  <a:pos x="121" y="256"/>
                </a:cxn>
                <a:cxn ang="0">
                  <a:pos x="116" y="262"/>
                </a:cxn>
                <a:cxn ang="0">
                  <a:pos x="68" y="269"/>
                </a:cxn>
                <a:cxn ang="0">
                  <a:pos x="0" y="207"/>
                </a:cxn>
                <a:cxn ang="0">
                  <a:pos x="0" y="16"/>
                </a:cxn>
                <a:cxn ang="0">
                  <a:pos x="7" y="7"/>
                </a:cxn>
                <a:cxn ang="0">
                  <a:pos x="50" y="0"/>
                </a:cxn>
                <a:cxn ang="0">
                  <a:pos x="52" y="0"/>
                </a:cxn>
                <a:cxn ang="0">
                  <a:pos x="58" y="6"/>
                </a:cxn>
                <a:cxn ang="0">
                  <a:pos x="58" y="67"/>
                </a:cxn>
                <a:cxn ang="0">
                  <a:pos x="109" y="67"/>
                </a:cxn>
                <a:cxn ang="0">
                  <a:pos x="115" y="72"/>
                </a:cxn>
                <a:cxn ang="0">
                  <a:pos x="115" y="103"/>
                </a:cxn>
                <a:cxn ang="0">
                  <a:pos x="109" y="108"/>
                </a:cxn>
                <a:cxn ang="0">
                  <a:pos x="58" y="108"/>
                </a:cxn>
                <a:cxn ang="0">
                  <a:pos x="58" y="204"/>
                </a:cxn>
                <a:cxn ang="0">
                  <a:pos x="83" y="228"/>
                </a:cxn>
                <a:cxn ang="0">
                  <a:pos x="110" y="225"/>
                </a:cxn>
                <a:cxn ang="0">
                  <a:pos x="111" y="225"/>
                </a:cxn>
                <a:cxn ang="0">
                  <a:pos x="116" y="229"/>
                </a:cxn>
                <a:cxn ang="0">
                  <a:pos x="121" y="253"/>
                </a:cxn>
                <a:cxn ang="0">
                  <a:pos x="121" y="256"/>
                </a:cxn>
              </a:cxnLst>
              <a:rect l="0" t="0" r="r" b="b"/>
              <a:pathLst>
                <a:path w="121" h="269">
                  <a:moveTo>
                    <a:pt x="121" y="256"/>
                  </a:moveTo>
                  <a:cubicBezTo>
                    <a:pt x="121" y="259"/>
                    <a:pt x="119" y="261"/>
                    <a:pt x="116" y="262"/>
                  </a:cubicBezTo>
                  <a:cubicBezTo>
                    <a:pt x="110" y="264"/>
                    <a:pt x="93" y="269"/>
                    <a:pt x="68" y="269"/>
                  </a:cubicBezTo>
                  <a:cubicBezTo>
                    <a:pt x="23" y="269"/>
                    <a:pt x="0" y="252"/>
                    <a:pt x="0" y="207"/>
                  </a:cubicBezTo>
                  <a:cubicBezTo>
                    <a:pt x="0" y="16"/>
                    <a:pt x="0" y="16"/>
                    <a:pt x="0" y="16"/>
                  </a:cubicBezTo>
                  <a:cubicBezTo>
                    <a:pt x="0" y="11"/>
                    <a:pt x="2" y="8"/>
                    <a:pt x="7" y="7"/>
                  </a:cubicBezTo>
                  <a:cubicBezTo>
                    <a:pt x="50" y="0"/>
                    <a:pt x="50" y="0"/>
                    <a:pt x="50" y="0"/>
                  </a:cubicBezTo>
                  <a:cubicBezTo>
                    <a:pt x="52" y="0"/>
                    <a:pt x="52" y="0"/>
                    <a:pt x="52" y="0"/>
                  </a:cubicBezTo>
                  <a:cubicBezTo>
                    <a:pt x="56" y="0"/>
                    <a:pt x="58" y="1"/>
                    <a:pt x="58" y="6"/>
                  </a:cubicBezTo>
                  <a:cubicBezTo>
                    <a:pt x="58" y="67"/>
                    <a:pt x="58" y="67"/>
                    <a:pt x="58" y="67"/>
                  </a:cubicBezTo>
                  <a:cubicBezTo>
                    <a:pt x="109" y="67"/>
                    <a:pt x="109" y="67"/>
                    <a:pt x="109" y="67"/>
                  </a:cubicBezTo>
                  <a:cubicBezTo>
                    <a:pt x="112" y="67"/>
                    <a:pt x="115" y="69"/>
                    <a:pt x="115" y="72"/>
                  </a:cubicBezTo>
                  <a:cubicBezTo>
                    <a:pt x="115" y="103"/>
                    <a:pt x="115" y="103"/>
                    <a:pt x="115" y="103"/>
                  </a:cubicBezTo>
                  <a:cubicBezTo>
                    <a:pt x="115" y="106"/>
                    <a:pt x="112" y="108"/>
                    <a:pt x="109" y="108"/>
                  </a:cubicBezTo>
                  <a:cubicBezTo>
                    <a:pt x="58" y="108"/>
                    <a:pt x="58" y="108"/>
                    <a:pt x="58" y="108"/>
                  </a:cubicBezTo>
                  <a:cubicBezTo>
                    <a:pt x="58" y="204"/>
                    <a:pt x="58" y="204"/>
                    <a:pt x="58" y="204"/>
                  </a:cubicBezTo>
                  <a:cubicBezTo>
                    <a:pt x="58" y="219"/>
                    <a:pt x="63" y="228"/>
                    <a:pt x="83" y="228"/>
                  </a:cubicBezTo>
                  <a:cubicBezTo>
                    <a:pt x="94" y="228"/>
                    <a:pt x="104" y="226"/>
                    <a:pt x="110" y="225"/>
                  </a:cubicBezTo>
                  <a:cubicBezTo>
                    <a:pt x="111" y="225"/>
                    <a:pt x="111" y="225"/>
                    <a:pt x="111" y="225"/>
                  </a:cubicBezTo>
                  <a:cubicBezTo>
                    <a:pt x="114" y="225"/>
                    <a:pt x="115" y="226"/>
                    <a:pt x="116" y="229"/>
                  </a:cubicBezTo>
                  <a:cubicBezTo>
                    <a:pt x="121" y="253"/>
                    <a:pt x="121" y="253"/>
                    <a:pt x="121" y="253"/>
                  </a:cubicBezTo>
                  <a:lnTo>
                    <a:pt x="121" y="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8" name="Freeform 37"/>
            <p:cNvSpPr>
              <a:spLocks noEditPoints="1"/>
            </p:cNvSpPr>
            <p:nvPr/>
          </p:nvSpPr>
          <p:spPr bwMode="auto">
            <a:xfrm>
              <a:off x="7083425" y="3248025"/>
              <a:ext cx="384175" cy="422275"/>
            </a:xfrm>
            <a:custGeom>
              <a:avLst/>
              <a:gdLst/>
              <a:ahLst/>
              <a:cxnLst>
                <a:cxn ang="0">
                  <a:pos x="189" y="119"/>
                </a:cxn>
                <a:cxn ang="0">
                  <a:pos x="180" y="129"/>
                </a:cxn>
                <a:cxn ang="0">
                  <a:pos x="58" y="129"/>
                </a:cxn>
                <a:cxn ang="0">
                  <a:pos x="74" y="161"/>
                </a:cxn>
                <a:cxn ang="0">
                  <a:pos x="115" y="170"/>
                </a:cxn>
                <a:cxn ang="0">
                  <a:pos x="167" y="161"/>
                </a:cxn>
                <a:cxn ang="0">
                  <a:pos x="168" y="161"/>
                </a:cxn>
                <a:cxn ang="0">
                  <a:pos x="174" y="167"/>
                </a:cxn>
                <a:cxn ang="0">
                  <a:pos x="179" y="188"/>
                </a:cxn>
                <a:cxn ang="0">
                  <a:pos x="180" y="190"/>
                </a:cxn>
                <a:cxn ang="0">
                  <a:pos x="176" y="196"/>
                </a:cxn>
                <a:cxn ang="0">
                  <a:pos x="105" y="209"/>
                </a:cxn>
                <a:cxn ang="0">
                  <a:pos x="0" y="105"/>
                </a:cxn>
                <a:cxn ang="0">
                  <a:pos x="95" y="0"/>
                </a:cxn>
                <a:cxn ang="0">
                  <a:pos x="171" y="26"/>
                </a:cxn>
                <a:cxn ang="0">
                  <a:pos x="190" y="101"/>
                </a:cxn>
                <a:cxn ang="0">
                  <a:pos x="189" y="119"/>
                </a:cxn>
                <a:cxn ang="0">
                  <a:pos x="132" y="92"/>
                </a:cxn>
                <a:cxn ang="0">
                  <a:pos x="130" y="65"/>
                </a:cxn>
                <a:cxn ang="0">
                  <a:pos x="96" y="38"/>
                </a:cxn>
                <a:cxn ang="0">
                  <a:pos x="60" y="63"/>
                </a:cxn>
                <a:cxn ang="0">
                  <a:pos x="58" y="94"/>
                </a:cxn>
                <a:cxn ang="0">
                  <a:pos x="132" y="94"/>
                </a:cxn>
                <a:cxn ang="0">
                  <a:pos x="132" y="92"/>
                </a:cxn>
              </a:cxnLst>
              <a:rect l="0" t="0" r="r" b="b"/>
              <a:pathLst>
                <a:path w="190" h="209">
                  <a:moveTo>
                    <a:pt x="189" y="119"/>
                  </a:moveTo>
                  <a:cubicBezTo>
                    <a:pt x="189" y="124"/>
                    <a:pt x="187" y="129"/>
                    <a:pt x="180" y="129"/>
                  </a:cubicBezTo>
                  <a:cubicBezTo>
                    <a:pt x="58" y="129"/>
                    <a:pt x="58" y="129"/>
                    <a:pt x="58" y="129"/>
                  </a:cubicBezTo>
                  <a:cubicBezTo>
                    <a:pt x="58" y="145"/>
                    <a:pt x="63" y="154"/>
                    <a:pt x="74" y="161"/>
                  </a:cubicBezTo>
                  <a:cubicBezTo>
                    <a:pt x="83" y="167"/>
                    <a:pt x="96" y="170"/>
                    <a:pt x="115" y="170"/>
                  </a:cubicBezTo>
                  <a:cubicBezTo>
                    <a:pt x="138" y="170"/>
                    <a:pt x="157" y="164"/>
                    <a:pt x="167" y="161"/>
                  </a:cubicBezTo>
                  <a:cubicBezTo>
                    <a:pt x="168" y="161"/>
                    <a:pt x="168" y="161"/>
                    <a:pt x="168" y="161"/>
                  </a:cubicBezTo>
                  <a:cubicBezTo>
                    <a:pt x="171" y="161"/>
                    <a:pt x="173" y="163"/>
                    <a:pt x="174" y="167"/>
                  </a:cubicBezTo>
                  <a:cubicBezTo>
                    <a:pt x="179" y="188"/>
                    <a:pt x="179" y="188"/>
                    <a:pt x="179" y="188"/>
                  </a:cubicBezTo>
                  <a:cubicBezTo>
                    <a:pt x="180" y="189"/>
                    <a:pt x="180" y="189"/>
                    <a:pt x="180" y="190"/>
                  </a:cubicBezTo>
                  <a:cubicBezTo>
                    <a:pt x="180" y="193"/>
                    <a:pt x="178" y="195"/>
                    <a:pt x="176" y="196"/>
                  </a:cubicBezTo>
                  <a:cubicBezTo>
                    <a:pt x="164" y="201"/>
                    <a:pt x="137" y="209"/>
                    <a:pt x="105" y="209"/>
                  </a:cubicBezTo>
                  <a:cubicBezTo>
                    <a:pt x="31" y="209"/>
                    <a:pt x="0" y="182"/>
                    <a:pt x="0" y="105"/>
                  </a:cubicBezTo>
                  <a:cubicBezTo>
                    <a:pt x="0" y="31"/>
                    <a:pt x="22" y="0"/>
                    <a:pt x="95" y="0"/>
                  </a:cubicBezTo>
                  <a:cubicBezTo>
                    <a:pt x="133" y="0"/>
                    <a:pt x="156" y="9"/>
                    <a:pt x="171" y="26"/>
                  </a:cubicBezTo>
                  <a:cubicBezTo>
                    <a:pt x="185" y="43"/>
                    <a:pt x="190" y="68"/>
                    <a:pt x="190" y="101"/>
                  </a:cubicBezTo>
                  <a:cubicBezTo>
                    <a:pt x="190" y="106"/>
                    <a:pt x="189" y="114"/>
                    <a:pt x="189" y="119"/>
                  </a:cubicBezTo>
                  <a:close/>
                  <a:moveTo>
                    <a:pt x="132" y="92"/>
                  </a:moveTo>
                  <a:cubicBezTo>
                    <a:pt x="132" y="81"/>
                    <a:pt x="131" y="73"/>
                    <a:pt x="130" y="65"/>
                  </a:cubicBezTo>
                  <a:cubicBezTo>
                    <a:pt x="125" y="45"/>
                    <a:pt x="115" y="38"/>
                    <a:pt x="96" y="38"/>
                  </a:cubicBezTo>
                  <a:cubicBezTo>
                    <a:pt x="72" y="38"/>
                    <a:pt x="63" y="46"/>
                    <a:pt x="60" y="63"/>
                  </a:cubicBezTo>
                  <a:cubicBezTo>
                    <a:pt x="58" y="73"/>
                    <a:pt x="58" y="82"/>
                    <a:pt x="58" y="94"/>
                  </a:cubicBezTo>
                  <a:cubicBezTo>
                    <a:pt x="132" y="94"/>
                    <a:pt x="132" y="94"/>
                    <a:pt x="132" y="94"/>
                  </a:cubicBezTo>
                  <a:lnTo>
                    <a:pt x="132"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9" name="Freeform 38"/>
            <p:cNvSpPr>
              <a:spLocks/>
            </p:cNvSpPr>
            <p:nvPr/>
          </p:nvSpPr>
          <p:spPr bwMode="auto">
            <a:xfrm>
              <a:off x="7515225" y="3248025"/>
              <a:ext cx="230188" cy="412750"/>
            </a:xfrm>
            <a:custGeom>
              <a:avLst/>
              <a:gdLst/>
              <a:ahLst/>
              <a:cxnLst>
                <a:cxn ang="0">
                  <a:pos x="107" y="43"/>
                </a:cxn>
                <a:cxn ang="0">
                  <a:pos x="59" y="48"/>
                </a:cxn>
                <a:cxn ang="0">
                  <a:pos x="59" y="198"/>
                </a:cxn>
                <a:cxn ang="0">
                  <a:pos x="53" y="204"/>
                </a:cxn>
                <a:cxn ang="0">
                  <a:pos x="6" y="204"/>
                </a:cxn>
                <a:cxn ang="0">
                  <a:pos x="0" y="198"/>
                </a:cxn>
                <a:cxn ang="0">
                  <a:pos x="0" y="32"/>
                </a:cxn>
                <a:cxn ang="0">
                  <a:pos x="17" y="13"/>
                </a:cxn>
                <a:cxn ang="0">
                  <a:pos x="63" y="4"/>
                </a:cxn>
                <a:cxn ang="0">
                  <a:pos x="100" y="0"/>
                </a:cxn>
                <a:cxn ang="0">
                  <a:pos x="103" y="0"/>
                </a:cxn>
                <a:cxn ang="0">
                  <a:pos x="111" y="2"/>
                </a:cxn>
                <a:cxn ang="0">
                  <a:pos x="114" y="8"/>
                </a:cxn>
                <a:cxn ang="0">
                  <a:pos x="114" y="36"/>
                </a:cxn>
                <a:cxn ang="0">
                  <a:pos x="107" y="43"/>
                </a:cxn>
              </a:cxnLst>
              <a:rect l="0" t="0" r="r" b="b"/>
              <a:pathLst>
                <a:path w="114" h="204">
                  <a:moveTo>
                    <a:pt x="107" y="43"/>
                  </a:moveTo>
                  <a:cubicBezTo>
                    <a:pt x="85" y="43"/>
                    <a:pt x="65" y="46"/>
                    <a:pt x="59" y="48"/>
                  </a:cubicBezTo>
                  <a:cubicBezTo>
                    <a:pt x="59" y="198"/>
                    <a:pt x="59" y="198"/>
                    <a:pt x="59" y="198"/>
                  </a:cubicBezTo>
                  <a:cubicBezTo>
                    <a:pt x="59" y="202"/>
                    <a:pt x="56" y="204"/>
                    <a:pt x="53" y="204"/>
                  </a:cubicBezTo>
                  <a:cubicBezTo>
                    <a:pt x="6" y="204"/>
                    <a:pt x="6" y="204"/>
                    <a:pt x="6" y="204"/>
                  </a:cubicBezTo>
                  <a:cubicBezTo>
                    <a:pt x="4" y="204"/>
                    <a:pt x="0" y="202"/>
                    <a:pt x="0" y="198"/>
                  </a:cubicBezTo>
                  <a:cubicBezTo>
                    <a:pt x="0" y="32"/>
                    <a:pt x="0" y="32"/>
                    <a:pt x="0" y="32"/>
                  </a:cubicBezTo>
                  <a:cubicBezTo>
                    <a:pt x="0" y="21"/>
                    <a:pt x="6" y="17"/>
                    <a:pt x="17" y="13"/>
                  </a:cubicBezTo>
                  <a:cubicBezTo>
                    <a:pt x="29" y="9"/>
                    <a:pt x="47" y="6"/>
                    <a:pt x="63" y="4"/>
                  </a:cubicBezTo>
                  <a:cubicBezTo>
                    <a:pt x="74" y="2"/>
                    <a:pt x="87" y="1"/>
                    <a:pt x="100" y="0"/>
                  </a:cubicBezTo>
                  <a:cubicBezTo>
                    <a:pt x="103" y="0"/>
                    <a:pt x="103" y="0"/>
                    <a:pt x="103" y="0"/>
                  </a:cubicBezTo>
                  <a:cubicBezTo>
                    <a:pt x="108" y="0"/>
                    <a:pt x="109" y="1"/>
                    <a:pt x="111" y="2"/>
                  </a:cubicBezTo>
                  <a:cubicBezTo>
                    <a:pt x="112" y="3"/>
                    <a:pt x="114" y="5"/>
                    <a:pt x="114" y="8"/>
                  </a:cubicBezTo>
                  <a:cubicBezTo>
                    <a:pt x="114" y="36"/>
                    <a:pt x="114" y="36"/>
                    <a:pt x="114" y="36"/>
                  </a:cubicBezTo>
                  <a:cubicBezTo>
                    <a:pt x="114" y="40"/>
                    <a:pt x="113" y="43"/>
                    <a:pt x="107"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0" name="Freeform 39"/>
            <p:cNvSpPr>
              <a:spLocks noEditPoints="1"/>
            </p:cNvSpPr>
            <p:nvPr/>
          </p:nvSpPr>
          <p:spPr bwMode="auto">
            <a:xfrm>
              <a:off x="7767638" y="3248025"/>
              <a:ext cx="371475" cy="422275"/>
            </a:xfrm>
            <a:custGeom>
              <a:avLst/>
              <a:gdLst/>
              <a:ahLst/>
              <a:cxnLst>
                <a:cxn ang="0">
                  <a:pos x="147" y="204"/>
                </a:cxn>
                <a:cxn ang="0">
                  <a:pos x="93" y="209"/>
                </a:cxn>
                <a:cxn ang="0">
                  <a:pos x="0" y="144"/>
                </a:cxn>
                <a:cxn ang="0">
                  <a:pos x="59" y="85"/>
                </a:cxn>
                <a:cxn ang="0">
                  <a:pos x="125" y="74"/>
                </a:cxn>
                <a:cxn ang="0">
                  <a:pos x="125" y="64"/>
                </a:cxn>
                <a:cxn ang="0">
                  <a:pos x="116" y="43"/>
                </a:cxn>
                <a:cxn ang="0">
                  <a:pos x="89" y="40"/>
                </a:cxn>
                <a:cxn ang="0">
                  <a:pos x="25" y="50"/>
                </a:cxn>
                <a:cxn ang="0">
                  <a:pos x="23" y="51"/>
                </a:cxn>
                <a:cxn ang="0">
                  <a:pos x="19" y="47"/>
                </a:cxn>
                <a:cxn ang="0">
                  <a:pos x="13" y="21"/>
                </a:cxn>
                <a:cxn ang="0">
                  <a:pos x="13" y="19"/>
                </a:cxn>
                <a:cxn ang="0">
                  <a:pos x="17" y="13"/>
                </a:cxn>
                <a:cxn ang="0">
                  <a:pos x="102" y="0"/>
                </a:cxn>
                <a:cxn ang="0">
                  <a:pos x="159" y="11"/>
                </a:cxn>
                <a:cxn ang="0">
                  <a:pos x="184" y="60"/>
                </a:cxn>
                <a:cxn ang="0">
                  <a:pos x="184" y="164"/>
                </a:cxn>
                <a:cxn ang="0">
                  <a:pos x="147" y="204"/>
                </a:cxn>
                <a:cxn ang="0">
                  <a:pos x="126" y="109"/>
                </a:cxn>
                <a:cxn ang="0">
                  <a:pos x="85" y="116"/>
                </a:cxn>
                <a:cxn ang="0">
                  <a:pos x="58" y="143"/>
                </a:cxn>
                <a:cxn ang="0">
                  <a:pos x="94" y="172"/>
                </a:cxn>
                <a:cxn ang="0">
                  <a:pos x="126" y="168"/>
                </a:cxn>
                <a:cxn ang="0">
                  <a:pos x="126" y="109"/>
                </a:cxn>
              </a:cxnLst>
              <a:rect l="0" t="0" r="r" b="b"/>
              <a:pathLst>
                <a:path w="184" h="209">
                  <a:moveTo>
                    <a:pt x="147" y="204"/>
                  </a:moveTo>
                  <a:cubicBezTo>
                    <a:pt x="133" y="207"/>
                    <a:pt x="115" y="209"/>
                    <a:pt x="93" y="209"/>
                  </a:cubicBezTo>
                  <a:cubicBezTo>
                    <a:pt x="49" y="209"/>
                    <a:pt x="0" y="203"/>
                    <a:pt x="0" y="144"/>
                  </a:cubicBezTo>
                  <a:cubicBezTo>
                    <a:pt x="0" y="95"/>
                    <a:pt x="31" y="89"/>
                    <a:pt x="59" y="85"/>
                  </a:cubicBezTo>
                  <a:cubicBezTo>
                    <a:pt x="125" y="74"/>
                    <a:pt x="125" y="74"/>
                    <a:pt x="125" y="74"/>
                  </a:cubicBezTo>
                  <a:cubicBezTo>
                    <a:pt x="125" y="64"/>
                    <a:pt x="125" y="64"/>
                    <a:pt x="125" y="64"/>
                  </a:cubicBezTo>
                  <a:cubicBezTo>
                    <a:pt x="125" y="54"/>
                    <a:pt x="124" y="47"/>
                    <a:pt x="116" y="43"/>
                  </a:cubicBezTo>
                  <a:cubicBezTo>
                    <a:pt x="111" y="41"/>
                    <a:pt x="102" y="40"/>
                    <a:pt x="89" y="40"/>
                  </a:cubicBezTo>
                  <a:cubicBezTo>
                    <a:pt x="65" y="40"/>
                    <a:pt x="36" y="48"/>
                    <a:pt x="25" y="50"/>
                  </a:cubicBezTo>
                  <a:cubicBezTo>
                    <a:pt x="25" y="50"/>
                    <a:pt x="24" y="51"/>
                    <a:pt x="23" y="51"/>
                  </a:cubicBezTo>
                  <a:cubicBezTo>
                    <a:pt x="21" y="51"/>
                    <a:pt x="19" y="49"/>
                    <a:pt x="19" y="47"/>
                  </a:cubicBezTo>
                  <a:cubicBezTo>
                    <a:pt x="13" y="21"/>
                    <a:pt x="13" y="21"/>
                    <a:pt x="13" y="21"/>
                  </a:cubicBezTo>
                  <a:cubicBezTo>
                    <a:pt x="13" y="20"/>
                    <a:pt x="13" y="20"/>
                    <a:pt x="13" y="19"/>
                  </a:cubicBezTo>
                  <a:cubicBezTo>
                    <a:pt x="13" y="16"/>
                    <a:pt x="15" y="14"/>
                    <a:pt x="17" y="13"/>
                  </a:cubicBezTo>
                  <a:cubicBezTo>
                    <a:pt x="25" y="10"/>
                    <a:pt x="61" y="0"/>
                    <a:pt x="102" y="0"/>
                  </a:cubicBezTo>
                  <a:cubicBezTo>
                    <a:pt x="128" y="0"/>
                    <a:pt x="147" y="4"/>
                    <a:pt x="159" y="11"/>
                  </a:cubicBezTo>
                  <a:cubicBezTo>
                    <a:pt x="178" y="21"/>
                    <a:pt x="184" y="38"/>
                    <a:pt x="184" y="60"/>
                  </a:cubicBezTo>
                  <a:cubicBezTo>
                    <a:pt x="184" y="164"/>
                    <a:pt x="184" y="164"/>
                    <a:pt x="184" y="164"/>
                  </a:cubicBezTo>
                  <a:cubicBezTo>
                    <a:pt x="184" y="193"/>
                    <a:pt x="173" y="198"/>
                    <a:pt x="147" y="204"/>
                  </a:cubicBezTo>
                  <a:close/>
                  <a:moveTo>
                    <a:pt x="126" y="109"/>
                  </a:moveTo>
                  <a:cubicBezTo>
                    <a:pt x="85" y="116"/>
                    <a:pt x="85" y="116"/>
                    <a:pt x="85" y="116"/>
                  </a:cubicBezTo>
                  <a:cubicBezTo>
                    <a:pt x="71" y="118"/>
                    <a:pt x="58" y="120"/>
                    <a:pt x="58" y="143"/>
                  </a:cubicBezTo>
                  <a:cubicBezTo>
                    <a:pt x="58" y="170"/>
                    <a:pt x="79" y="172"/>
                    <a:pt x="94" y="172"/>
                  </a:cubicBezTo>
                  <a:cubicBezTo>
                    <a:pt x="108" y="172"/>
                    <a:pt x="121" y="169"/>
                    <a:pt x="126" y="168"/>
                  </a:cubicBezTo>
                  <a:lnTo>
                    <a:pt x="126"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1" name="Freeform 40"/>
            <p:cNvSpPr>
              <a:spLocks noEditPoints="1"/>
            </p:cNvSpPr>
            <p:nvPr/>
          </p:nvSpPr>
          <p:spPr bwMode="auto">
            <a:xfrm>
              <a:off x="4910138" y="2455863"/>
              <a:ext cx="1085850" cy="919162"/>
            </a:xfrm>
            <a:custGeom>
              <a:avLst/>
              <a:gdLst/>
              <a:ahLst/>
              <a:cxnLst>
                <a:cxn ang="0">
                  <a:pos x="470" y="238"/>
                </a:cxn>
                <a:cxn ang="0">
                  <a:pos x="497" y="67"/>
                </a:cxn>
                <a:cxn ang="0">
                  <a:pos x="326" y="39"/>
                </a:cxn>
                <a:cxn ang="0">
                  <a:pos x="220" y="250"/>
                </a:cxn>
                <a:cxn ang="0">
                  <a:pos x="50" y="276"/>
                </a:cxn>
                <a:cxn ang="0">
                  <a:pos x="29" y="404"/>
                </a:cxn>
                <a:cxn ang="0">
                  <a:pos x="158" y="425"/>
                </a:cxn>
                <a:cxn ang="0">
                  <a:pos x="235" y="272"/>
                </a:cxn>
                <a:cxn ang="0">
                  <a:pos x="470" y="238"/>
                </a:cxn>
                <a:cxn ang="0">
                  <a:pos x="295" y="137"/>
                </a:cxn>
                <a:cxn ang="0">
                  <a:pos x="381" y="151"/>
                </a:cxn>
                <a:cxn ang="0">
                  <a:pos x="367" y="237"/>
                </a:cxn>
                <a:cxn ang="0">
                  <a:pos x="242" y="254"/>
                </a:cxn>
                <a:cxn ang="0">
                  <a:pos x="238" y="254"/>
                </a:cxn>
                <a:cxn ang="0">
                  <a:pos x="239" y="250"/>
                </a:cxn>
                <a:cxn ang="0">
                  <a:pos x="295" y="137"/>
                </a:cxn>
                <a:cxn ang="0">
                  <a:pos x="175" y="356"/>
                </a:cxn>
                <a:cxn ang="0">
                  <a:pos x="110" y="346"/>
                </a:cxn>
                <a:cxn ang="0">
                  <a:pos x="121" y="281"/>
                </a:cxn>
                <a:cxn ang="0">
                  <a:pos x="214" y="268"/>
                </a:cxn>
                <a:cxn ang="0">
                  <a:pos x="218" y="268"/>
                </a:cxn>
                <a:cxn ang="0">
                  <a:pos x="217" y="272"/>
                </a:cxn>
                <a:cxn ang="0">
                  <a:pos x="175" y="356"/>
                </a:cxn>
              </a:cxnLst>
              <a:rect l="0" t="0" r="r" b="b"/>
              <a:pathLst>
                <a:path w="537" h="455">
                  <a:moveTo>
                    <a:pt x="470" y="238"/>
                  </a:moveTo>
                  <a:cubicBezTo>
                    <a:pt x="524" y="198"/>
                    <a:pt x="537" y="122"/>
                    <a:pt x="497" y="67"/>
                  </a:cubicBezTo>
                  <a:cubicBezTo>
                    <a:pt x="458" y="12"/>
                    <a:pt x="381" y="0"/>
                    <a:pt x="326" y="39"/>
                  </a:cubicBezTo>
                  <a:cubicBezTo>
                    <a:pt x="283" y="71"/>
                    <a:pt x="237" y="199"/>
                    <a:pt x="220" y="250"/>
                  </a:cubicBezTo>
                  <a:cubicBezTo>
                    <a:pt x="176" y="251"/>
                    <a:pt x="81" y="253"/>
                    <a:pt x="50" y="276"/>
                  </a:cubicBezTo>
                  <a:cubicBezTo>
                    <a:pt x="9" y="306"/>
                    <a:pt x="0" y="363"/>
                    <a:pt x="29" y="404"/>
                  </a:cubicBezTo>
                  <a:cubicBezTo>
                    <a:pt x="59" y="445"/>
                    <a:pt x="116" y="455"/>
                    <a:pt x="158" y="425"/>
                  </a:cubicBezTo>
                  <a:cubicBezTo>
                    <a:pt x="189" y="402"/>
                    <a:pt x="222" y="313"/>
                    <a:pt x="235" y="272"/>
                  </a:cubicBezTo>
                  <a:cubicBezTo>
                    <a:pt x="289" y="272"/>
                    <a:pt x="426" y="269"/>
                    <a:pt x="470" y="238"/>
                  </a:cubicBezTo>
                  <a:close/>
                  <a:moveTo>
                    <a:pt x="295" y="137"/>
                  </a:moveTo>
                  <a:cubicBezTo>
                    <a:pt x="322" y="117"/>
                    <a:pt x="361" y="123"/>
                    <a:pt x="381" y="151"/>
                  </a:cubicBezTo>
                  <a:cubicBezTo>
                    <a:pt x="401" y="178"/>
                    <a:pt x="395" y="217"/>
                    <a:pt x="367" y="237"/>
                  </a:cubicBezTo>
                  <a:cubicBezTo>
                    <a:pt x="343" y="255"/>
                    <a:pt x="261" y="254"/>
                    <a:pt x="242" y="254"/>
                  </a:cubicBezTo>
                  <a:cubicBezTo>
                    <a:pt x="239" y="254"/>
                    <a:pt x="238" y="254"/>
                    <a:pt x="238" y="254"/>
                  </a:cubicBezTo>
                  <a:cubicBezTo>
                    <a:pt x="238" y="254"/>
                    <a:pt x="238" y="253"/>
                    <a:pt x="239" y="250"/>
                  </a:cubicBezTo>
                  <a:cubicBezTo>
                    <a:pt x="245" y="232"/>
                    <a:pt x="270" y="154"/>
                    <a:pt x="295" y="137"/>
                  </a:cubicBezTo>
                  <a:close/>
                  <a:moveTo>
                    <a:pt x="175" y="356"/>
                  </a:moveTo>
                  <a:cubicBezTo>
                    <a:pt x="154" y="371"/>
                    <a:pt x="125" y="367"/>
                    <a:pt x="110" y="346"/>
                  </a:cubicBezTo>
                  <a:cubicBezTo>
                    <a:pt x="95" y="325"/>
                    <a:pt x="100" y="296"/>
                    <a:pt x="121" y="281"/>
                  </a:cubicBezTo>
                  <a:cubicBezTo>
                    <a:pt x="139" y="268"/>
                    <a:pt x="198" y="268"/>
                    <a:pt x="214" y="268"/>
                  </a:cubicBezTo>
                  <a:cubicBezTo>
                    <a:pt x="216" y="268"/>
                    <a:pt x="218" y="268"/>
                    <a:pt x="218" y="268"/>
                  </a:cubicBezTo>
                  <a:cubicBezTo>
                    <a:pt x="218" y="268"/>
                    <a:pt x="218" y="270"/>
                    <a:pt x="217" y="272"/>
                  </a:cubicBezTo>
                  <a:cubicBezTo>
                    <a:pt x="212" y="288"/>
                    <a:pt x="193" y="343"/>
                    <a:pt x="175" y="3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grpSp>
    </p:spTree>
    <p:extLst>
      <p:ext uri="{BB962C8B-B14F-4D97-AF65-F5344CB8AC3E}">
        <p14:creationId xmlns:p14="http://schemas.microsoft.com/office/powerpoint/2010/main" val="170949942"/>
      </p:ext>
    </p:extLst>
  </p:cSld>
  <p:clrMapOvr>
    <a:masterClrMapping/>
  </p:clrMapOvr>
  <p:transition xmlns:p14="http://schemas.microsoft.com/office/powerpoint/2010/mai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a:solidFill>
                <a:srgbClr val="B4B4B4"/>
              </a:solidFill>
            </a:endParaRPr>
          </a:p>
        </p:txBody>
      </p:sp>
      <p:sp>
        <p:nvSpPr>
          <p:cNvPr id="5" name="Slide Number Placeholder 4"/>
          <p:cNvSpPr>
            <a:spLocks noGrp="1"/>
          </p:cNvSpPr>
          <p:nvPr>
            <p:ph type="sldNum" sz="quarter" idx="12"/>
          </p:nvPr>
        </p:nvSpPr>
        <p:spPr/>
        <p:txBody>
          <a:bodyPr/>
          <a:lstStyle/>
          <a:p>
            <a:fld id="{52BB5B38-2141-4D75-B405-23F83BDD5945}" type="slidenum">
              <a:rPr lang="en-US" smtClean="0">
                <a:solidFill>
                  <a:srgbClr val="B4B4B4"/>
                </a:solidFill>
              </a:rPr>
              <a:pPr/>
              <a:t>‹#›</a:t>
            </a:fld>
            <a:endParaRPr lang="en-US">
              <a:solidFill>
                <a:srgbClr val="B4B4B4"/>
              </a:solidFill>
            </a:endParaRPr>
          </a:p>
        </p:txBody>
      </p:sp>
      <p:sp>
        <p:nvSpPr>
          <p:cNvPr id="7" name="Text Placeholder 6"/>
          <p:cNvSpPr>
            <a:spLocks noGrp="1"/>
          </p:cNvSpPr>
          <p:nvPr>
            <p:ph type="body" sz="quarter" idx="13" hasCustomPrompt="1"/>
          </p:nvPr>
        </p:nvSpPr>
        <p:spPr>
          <a:xfrm>
            <a:off x="228600" y="514350"/>
            <a:ext cx="8555038" cy="475906"/>
          </a:xfrm>
        </p:spPr>
        <p:txBody>
          <a:bodyPr vert="horz" lIns="91440" tIns="45720" rIns="91440" bIns="45720" rtlCol="0" anchor="ctr" anchorCtr="0">
            <a:noAutofit/>
          </a:bodyPr>
          <a:lstStyle>
            <a:lvl1pPr marL="0" indent="0" algn="l" defTabSz="685800" rtl="0" eaLnBrk="1" latinLnBrk="0" hangingPunct="1">
              <a:lnSpc>
                <a:spcPct val="80000"/>
              </a:lnSpc>
              <a:spcBef>
                <a:spcPts val="0"/>
              </a:spcBef>
              <a:spcAft>
                <a:spcPts val="0"/>
              </a:spcAft>
              <a:buFont typeface="Arial" pitchFamily="34" charset="0"/>
              <a:buNone/>
              <a:defRPr lang="en-US" sz="1350" b="0" kern="1200" dirty="0" smtClean="0">
                <a:solidFill>
                  <a:schemeClr val="bg1"/>
                </a:solidFill>
                <a:latin typeface="+mn-lt"/>
                <a:ea typeface="+mn-ea"/>
                <a:cs typeface="+mn-cs"/>
              </a:defRPr>
            </a:lvl1pPr>
          </a:lstStyle>
          <a:p>
            <a:pPr marL="0" lvl="0" indent="0" algn="l" defTabSz="685800" rtl="0" eaLnBrk="1" latinLnBrk="0" hangingPunct="1">
              <a:lnSpc>
                <a:spcPct val="80000"/>
              </a:lnSpc>
              <a:spcBef>
                <a:spcPts val="0"/>
              </a:spcBef>
              <a:spcAft>
                <a:spcPts val="0"/>
              </a:spcAft>
              <a:buFont typeface="Arial" pitchFamily="34" charset="0"/>
              <a:buNone/>
            </a:pPr>
            <a:r>
              <a:rPr lang="en-US" dirty="0"/>
              <a:t>Click to edit master text styles</a:t>
            </a:r>
          </a:p>
        </p:txBody>
      </p:sp>
      <p:grpSp>
        <p:nvGrpSpPr>
          <p:cNvPr id="34" name="Group 7"/>
          <p:cNvGrpSpPr>
            <a:grpSpLocks noChangeAspect="1"/>
          </p:cNvGrpSpPr>
          <p:nvPr userDrawn="1"/>
        </p:nvGrpSpPr>
        <p:grpSpPr>
          <a:xfrm>
            <a:off x="336180" y="4872435"/>
            <a:ext cx="689616" cy="194526"/>
            <a:chOff x="4910138" y="2455863"/>
            <a:chExt cx="3228975" cy="1214437"/>
          </a:xfrm>
          <a:solidFill>
            <a:schemeClr val="tx1"/>
          </a:solidFill>
        </p:grpSpPr>
        <p:sp>
          <p:nvSpPr>
            <p:cNvPr id="35" name="Freeform 34"/>
            <p:cNvSpPr>
              <a:spLocks/>
            </p:cNvSpPr>
            <p:nvPr/>
          </p:nvSpPr>
          <p:spPr bwMode="auto">
            <a:xfrm>
              <a:off x="5408613" y="3094038"/>
              <a:ext cx="492125" cy="566737"/>
            </a:xfrm>
            <a:custGeom>
              <a:avLst/>
              <a:gdLst/>
              <a:ahLst/>
              <a:cxnLst>
                <a:cxn ang="0">
                  <a:pos x="243" y="274"/>
                </a:cxn>
                <a:cxn ang="0">
                  <a:pos x="238" y="280"/>
                </a:cxn>
                <a:cxn ang="0">
                  <a:pos x="174" y="280"/>
                </a:cxn>
                <a:cxn ang="0">
                  <a:pos x="166" y="276"/>
                </a:cxn>
                <a:cxn ang="0">
                  <a:pos x="81" y="162"/>
                </a:cxn>
                <a:cxn ang="0">
                  <a:pos x="63" y="162"/>
                </a:cxn>
                <a:cxn ang="0">
                  <a:pos x="63" y="274"/>
                </a:cxn>
                <a:cxn ang="0">
                  <a:pos x="57" y="280"/>
                </a:cxn>
                <a:cxn ang="0">
                  <a:pos x="6" y="280"/>
                </a:cxn>
                <a:cxn ang="0">
                  <a:pos x="0" y="274"/>
                </a:cxn>
                <a:cxn ang="0">
                  <a:pos x="0" y="5"/>
                </a:cxn>
                <a:cxn ang="0">
                  <a:pos x="6" y="0"/>
                </a:cxn>
                <a:cxn ang="0">
                  <a:pos x="57" y="0"/>
                </a:cxn>
                <a:cxn ang="0">
                  <a:pos x="63" y="5"/>
                </a:cxn>
                <a:cxn ang="0">
                  <a:pos x="63" y="116"/>
                </a:cxn>
                <a:cxn ang="0">
                  <a:pos x="81" y="116"/>
                </a:cxn>
                <a:cxn ang="0">
                  <a:pos x="163" y="3"/>
                </a:cxn>
                <a:cxn ang="0">
                  <a:pos x="169" y="0"/>
                </a:cxn>
                <a:cxn ang="0">
                  <a:pos x="170" y="0"/>
                </a:cxn>
                <a:cxn ang="0">
                  <a:pos x="230" y="0"/>
                </a:cxn>
                <a:cxn ang="0">
                  <a:pos x="235" y="6"/>
                </a:cxn>
                <a:cxn ang="0">
                  <a:pos x="234" y="9"/>
                </a:cxn>
                <a:cxn ang="0">
                  <a:pos x="134" y="137"/>
                </a:cxn>
                <a:cxn ang="0">
                  <a:pos x="242" y="271"/>
                </a:cxn>
                <a:cxn ang="0">
                  <a:pos x="243" y="274"/>
                </a:cxn>
              </a:cxnLst>
              <a:rect l="0" t="0" r="r" b="b"/>
              <a:pathLst>
                <a:path w="243" h="280">
                  <a:moveTo>
                    <a:pt x="243" y="274"/>
                  </a:moveTo>
                  <a:cubicBezTo>
                    <a:pt x="243" y="277"/>
                    <a:pt x="240" y="280"/>
                    <a:pt x="238" y="280"/>
                  </a:cubicBezTo>
                  <a:cubicBezTo>
                    <a:pt x="174" y="280"/>
                    <a:pt x="174" y="280"/>
                    <a:pt x="174" y="280"/>
                  </a:cubicBezTo>
                  <a:cubicBezTo>
                    <a:pt x="170" y="280"/>
                    <a:pt x="167" y="278"/>
                    <a:pt x="166" y="276"/>
                  </a:cubicBezTo>
                  <a:cubicBezTo>
                    <a:pt x="81" y="162"/>
                    <a:pt x="81" y="162"/>
                    <a:pt x="81" y="162"/>
                  </a:cubicBezTo>
                  <a:cubicBezTo>
                    <a:pt x="63" y="162"/>
                    <a:pt x="63" y="162"/>
                    <a:pt x="63" y="162"/>
                  </a:cubicBezTo>
                  <a:cubicBezTo>
                    <a:pt x="63" y="274"/>
                    <a:pt x="63" y="274"/>
                    <a:pt x="63" y="274"/>
                  </a:cubicBezTo>
                  <a:cubicBezTo>
                    <a:pt x="63" y="278"/>
                    <a:pt x="60" y="280"/>
                    <a:pt x="57" y="280"/>
                  </a:cubicBezTo>
                  <a:cubicBezTo>
                    <a:pt x="6" y="280"/>
                    <a:pt x="6" y="280"/>
                    <a:pt x="6" y="280"/>
                  </a:cubicBezTo>
                  <a:cubicBezTo>
                    <a:pt x="3" y="280"/>
                    <a:pt x="0" y="278"/>
                    <a:pt x="0" y="274"/>
                  </a:cubicBezTo>
                  <a:cubicBezTo>
                    <a:pt x="0" y="5"/>
                    <a:pt x="0" y="5"/>
                    <a:pt x="0" y="5"/>
                  </a:cubicBezTo>
                  <a:cubicBezTo>
                    <a:pt x="0" y="2"/>
                    <a:pt x="3" y="0"/>
                    <a:pt x="6" y="0"/>
                  </a:cubicBezTo>
                  <a:cubicBezTo>
                    <a:pt x="57" y="0"/>
                    <a:pt x="57" y="0"/>
                    <a:pt x="57" y="0"/>
                  </a:cubicBezTo>
                  <a:cubicBezTo>
                    <a:pt x="60" y="0"/>
                    <a:pt x="63" y="2"/>
                    <a:pt x="63" y="5"/>
                  </a:cubicBezTo>
                  <a:cubicBezTo>
                    <a:pt x="63" y="116"/>
                    <a:pt x="63" y="116"/>
                    <a:pt x="63" y="116"/>
                  </a:cubicBezTo>
                  <a:cubicBezTo>
                    <a:pt x="81" y="116"/>
                    <a:pt x="81" y="116"/>
                    <a:pt x="81" y="116"/>
                  </a:cubicBezTo>
                  <a:cubicBezTo>
                    <a:pt x="163" y="3"/>
                    <a:pt x="163" y="3"/>
                    <a:pt x="163" y="3"/>
                  </a:cubicBezTo>
                  <a:cubicBezTo>
                    <a:pt x="165" y="1"/>
                    <a:pt x="166" y="0"/>
                    <a:pt x="169" y="0"/>
                  </a:cubicBezTo>
                  <a:cubicBezTo>
                    <a:pt x="170" y="0"/>
                    <a:pt x="170" y="0"/>
                    <a:pt x="170" y="0"/>
                  </a:cubicBezTo>
                  <a:cubicBezTo>
                    <a:pt x="230" y="0"/>
                    <a:pt x="230" y="0"/>
                    <a:pt x="230" y="0"/>
                  </a:cubicBezTo>
                  <a:cubicBezTo>
                    <a:pt x="232" y="0"/>
                    <a:pt x="235" y="3"/>
                    <a:pt x="235" y="6"/>
                  </a:cubicBezTo>
                  <a:cubicBezTo>
                    <a:pt x="235" y="7"/>
                    <a:pt x="234" y="8"/>
                    <a:pt x="234" y="9"/>
                  </a:cubicBezTo>
                  <a:cubicBezTo>
                    <a:pt x="134" y="137"/>
                    <a:pt x="134" y="137"/>
                    <a:pt x="134" y="137"/>
                  </a:cubicBezTo>
                  <a:cubicBezTo>
                    <a:pt x="242" y="271"/>
                    <a:pt x="242" y="271"/>
                    <a:pt x="242" y="271"/>
                  </a:cubicBezTo>
                  <a:cubicBezTo>
                    <a:pt x="242" y="272"/>
                    <a:pt x="243" y="273"/>
                    <a:pt x="243"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6" name="Freeform 35"/>
            <p:cNvSpPr>
              <a:spLocks noEditPoints="1"/>
            </p:cNvSpPr>
            <p:nvPr/>
          </p:nvSpPr>
          <p:spPr bwMode="auto">
            <a:xfrm>
              <a:off x="5903913" y="3248025"/>
              <a:ext cx="390525" cy="422275"/>
            </a:xfrm>
            <a:custGeom>
              <a:avLst/>
              <a:gdLst/>
              <a:ahLst/>
              <a:cxnLst>
                <a:cxn ang="0">
                  <a:pos x="97" y="209"/>
                </a:cxn>
                <a:cxn ang="0">
                  <a:pos x="0" y="104"/>
                </a:cxn>
                <a:cxn ang="0">
                  <a:pos x="97" y="0"/>
                </a:cxn>
                <a:cxn ang="0">
                  <a:pos x="193" y="104"/>
                </a:cxn>
                <a:cxn ang="0">
                  <a:pos x="97" y="209"/>
                </a:cxn>
                <a:cxn ang="0">
                  <a:pos x="97" y="39"/>
                </a:cxn>
                <a:cxn ang="0">
                  <a:pos x="60" y="104"/>
                </a:cxn>
                <a:cxn ang="0">
                  <a:pos x="97" y="169"/>
                </a:cxn>
                <a:cxn ang="0">
                  <a:pos x="133" y="104"/>
                </a:cxn>
                <a:cxn ang="0">
                  <a:pos x="97" y="39"/>
                </a:cxn>
              </a:cxnLst>
              <a:rect l="0" t="0" r="r" b="b"/>
              <a:pathLst>
                <a:path w="193" h="209">
                  <a:moveTo>
                    <a:pt x="97" y="209"/>
                  </a:moveTo>
                  <a:cubicBezTo>
                    <a:pt x="11" y="209"/>
                    <a:pt x="0" y="163"/>
                    <a:pt x="0" y="104"/>
                  </a:cubicBezTo>
                  <a:cubicBezTo>
                    <a:pt x="0" y="46"/>
                    <a:pt x="11" y="0"/>
                    <a:pt x="97" y="0"/>
                  </a:cubicBezTo>
                  <a:cubicBezTo>
                    <a:pt x="182" y="0"/>
                    <a:pt x="193" y="46"/>
                    <a:pt x="193" y="104"/>
                  </a:cubicBezTo>
                  <a:cubicBezTo>
                    <a:pt x="193" y="163"/>
                    <a:pt x="182" y="209"/>
                    <a:pt x="97" y="209"/>
                  </a:cubicBezTo>
                  <a:close/>
                  <a:moveTo>
                    <a:pt x="97" y="39"/>
                  </a:moveTo>
                  <a:cubicBezTo>
                    <a:pt x="61" y="39"/>
                    <a:pt x="60" y="60"/>
                    <a:pt x="60" y="104"/>
                  </a:cubicBezTo>
                  <a:cubicBezTo>
                    <a:pt x="60" y="149"/>
                    <a:pt x="61" y="169"/>
                    <a:pt x="97" y="169"/>
                  </a:cubicBezTo>
                  <a:cubicBezTo>
                    <a:pt x="132" y="169"/>
                    <a:pt x="133" y="149"/>
                    <a:pt x="133" y="104"/>
                  </a:cubicBezTo>
                  <a:cubicBezTo>
                    <a:pt x="133" y="60"/>
                    <a:pt x="132" y="39"/>
                    <a:pt x="97"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7" name="Freeform 36"/>
            <p:cNvSpPr>
              <a:spLocks/>
            </p:cNvSpPr>
            <p:nvPr/>
          </p:nvSpPr>
          <p:spPr bwMode="auto">
            <a:xfrm>
              <a:off x="6359525" y="3248025"/>
              <a:ext cx="366713" cy="412750"/>
            </a:xfrm>
            <a:custGeom>
              <a:avLst/>
              <a:gdLst/>
              <a:ahLst/>
              <a:cxnLst>
                <a:cxn ang="0">
                  <a:pos x="175" y="204"/>
                </a:cxn>
                <a:cxn ang="0">
                  <a:pos x="129" y="204"/>
                </a:cxn>
                <a:cxn ang="0">
                  <a:pos x="122" y="198"/>
                </a:cxn>
                <a:cxn ang="0">
                  <a:pos x="122" y="67"/>
                </a:cxn>
                <a:cxn ang="0">
                  <a:pos x="96" y="39"/>
                </a:cxn>
                <a:cxn ang="0">
                  <a:pos x="58" y="44"/>
                </a:cxn>
                <a:cxn ang="0">
                  <a:pos x="58" y="198"/>
                </a:cxn>
                <a:cxn ang="0">
                  <a:pos x="52" y="204"/>
                </a:cxn>
                <a:cxn ang="0">
                  <a:pos x="6" y="204"/>
                </a:cxn>
                <a:cxn ang="0">
                  <a:pos x="0" y="198"/>
                </a:cxn>
                <a:cxn ang="0">
                  <a:pos x="0" y="33"/>
                </a:cxn>
                <a:cxn ang="0">
                  <a:pos x="31" y="9"/>
                </a:cxn>
                <a:cxn ang="0">
                  <a:pos x="104" y="0"/>
                </a:cxn>
                <a:cxn ang="0">
                  <a:pos x="181" y="59"/>
                </a:cxn>
                <a:cxn ang="0">
                  <a:pos x="181" y="198"/>
                </a:cxn>
                <a:cxn ang="0">
                  <a:pos x="175" y="204"/>
                </a:cxn>
              </a:cxnLst>
              <a:rect l="0" t="0" r="r" b="b"/>
              <a:pathLst>
                <a:path w="181" h="204">
                  <a:moveTo>
                    <a:pt x="175" y="204"/>
                  </a:moveTo>
                  <a:cubicBezTo>
                    <a:pt x="129" y="204"/>
                    <a:pt x="129" y="204"/>
                    <a:pt x="129" y="204"/>
                  </a:cubicBezTo>
                  <a:cubicBezTo>
                    <a:pt x="125" y="204"/>
                    <a:pt x="122" y="202"/>
                    <a:pt x="122" y="198"/>
                  </a:cubicBezTo>
                  <a:cubicBezTo>
                    <a:pt x="122" y="67"/>
                    <a:pt x="122" y="67"/>
                    <a:pt x="122" y="67"/>
                  </a:cubicBezTo>
                  <a:cubicBezTo>
                    <a:pt x="122" y="46"/>
                    <a:pt x="114" y="39"/>
                    <a:pt x="96" y="39"/>
                  </a:cubicBezTo>
                  <a:cubicBezTo>
                    <a:pt x="78" y="39"/>
                    <a:pt x="58" y="44"/>
                    <a:pt x="58" y="44"/>
                  </a:cubicBezTo>
                  <a:cubicBezTo>
                    <a:pt x="58" y="198"/>
                    <a:pt x="58" y="198"/>
                    <a:pt x="58" y="198"/>
                  </a:cubicBezTo>
                  <a:cubicBezTo>
                    <a:pt x="58" y="202"/>
                    <a:pt x="56" y="204"/>
                    <a:pt x="52" y="204"/>
                  </a:cubicBezTo>
                  <a:cubicBezTo>
                    <a:pt x="6" y="204"/>
                    <a:pt x="6" y="204"/>
                    <a:pt x="6" y="204"/>
                  </a:cubicBezTo>
                  <a:cubicBezTo>
                    <a:pt x="2" y="204"/>
                    <a:pt x="0" y="202"/>
                    <a:pt x="0" y="198"/>
                  </a:cubicBezTo>
                  <a:cubicBezTo>
                    <a:pt x="0" y="33"/>
                    <a:pt x="0" y="33"/>
                    <a:pt x="0" y="33"/>
                  </a:cubicBezTo>
                  <a:cubicBezTo>
                    <a:pt x="0" y="18"/>
                    <a:pt x="9" y="14"/>
                    <a:pt x="31" y="9"/>
                  </a:cubicBezTo>
                  <a:cubicBezTo>
                    <a:pt x="50" y="4"/>
                    <a:pt x="80" y="0"/>
                    <a:pt x="104" y="0"/>
                  </a:cubicBezTo>
                  <a:cubicBezTo>
                    <a:pt x="152" y="0"/>
                    <a:pt x="181" y="11"/>
                    <a:pt x="181" y="59"/>
                  </a:cubicBezTo>
                  <a:cubicBezTo>
                    <a:pt x="181" y="198"/>
                    <a:pt x="181" y="198"/>
                    <a:pt x="181" y="198"/>
                  </a:cubicBezTo>
                  <a:cubicBezTo>
                    <a:pt x="181" y="202"/>
                    <a:pt x="178" y="204"/>
                    <a:pt x="175" y="2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8" name="Freeform 37"/>
            <p:cNvSpPr>
              <a:spLocks/>
            </p:cNvSpPr>
            <p:nvPr/>
          </p:nvSpPr>
          <p:spPr bwMode="auto">
            <a:xfrm>
              <a:off x="6804025" y="3122613"/>
              <a:ext cx="246063" cy="542925"/>
            </a:xfrm>
            <a:custGeom>
              <a:avLst/>
              <a:gdLst/>
              <a:ahLst/>
              <a:cxnLst>
                <a:cxn ang="0">
                  <a:pos x="121" y="256"/>
                </a:cxn>
                <a:cxn ang="0">
                  <a:pos x="116" y="262"/>
                </a:cxn>
                <a:cxn ang="0">
                  <a:pos x="68" y="269"/>
                </a:cxn>
                <a:cxn ang="0">
                  <a:pos x="0" y="207"/>
                </a:cxn>
                <a:cxn ang="0">
                  <a:pos x="0" y="16"/>
                </a:cxn>
                <a:cxn ang="0">
                  <a:pos x="7" y="7"/>
                </a:cxn>
                <a:cxn ang="0">
                  <a:pos x="50" y="0"/>
                </a:cxn>
                <a:cxn ang="0">
                  <a:pos x="52" y="0"/>
                </a:cxn>
                <a:cxn ang="0">
                  <a:pos x="58" y="6"/>
                </a:cxn>
                <a:cxn ang="0">
                  <a:pos x="58" y="67"/>
                </a:cxn>
                <a:cxn ang="0">
                  <a:pos x="109" y="67"/>
                </a:cxn>
                <a:cxn ang="0">
                  <a:pos x="115" y="72"/>
                </a:cxn>
                <a:cxn ang="0">
                  <a:pos x="115" y="103"/>
                </a:cxn>
                <a:cxn ang="0">
                  <a:pos x="109" y="108"/>
                </a:cxn>
                <a:cxn ang="0">
                  <a:pos x="58" y="108"/>
                </a:cxn>
                <a:cxn ang="0">
                  <a:pos x="58" y="204"/>
                </a:cxn>
                <a:cxn ang="0">
                  <a:pos x="83" y="228"/>
                </a:cxn>
                <a:cxn ang="0">
                  <a:pos x="110" y="225"/>
                </a:cxn>
                <a:cxn ang="0">
                  <a:pos x="111" y="225"/>
                </a:cxn>
                <a:cxn ang="0">
                  <a:pos x="116" y="229"/>
                </a:cxn>
                <a:cxn ang="0">
                  <a:pos x="121" y="253"/>
                </a:cxn>
                <a:cxn ang="0">
                  <a:pos x="121" y="256"/>
                </a:cxn>
              </a:cxnLst>
              <a:rect l="0" t="0" r="r" b="b"/>
              <a:pathLst>
                <a:path w="121" h="269">
                  <a:moveTo>
                    <a:pt x="121" y="256"/>
                  </a:moveTo>
                  <a:cubicBezTo>
                    <a:pt x="121" y="259"/>
                    <a:pt x="119" y="261"/>
                    <a:pt x="116" y="262"/>
                  </a:cubicBezTo>
                  <a:cubicBezTo>
                    <a:pt x="110" y="264"/>
                    <a:pt x="93" y="269"/>
                    <a:pt x="68" y="269"/>
                  </a:cubicBezTo>
                  <a:cubicBezTo>
                    <a:pt x="23" y="269"/>
                    <a:pt x="0" y="252"/>
                    <a:pt x="0" y="207"/>
                  </a:cubicBezTo>
                  <a:cubicBezTo>
                    <a:pt x="0" y="16"/>
                    <a:pt x="0" y="16"/>
                    <a:pt x="0" y="16"/>
                  </a:cubicBezTo>
                  <a:cubicBezTo>
                    <a:pt x="0" y="11"/>
                    <a:pt x="2" y="8"/>
                    <a:pt x="7" y="7"/>
                  </a:cubicBezTo>
                  <a:cubicBezTo>
                    <a:pt x="50" y="0"/>
                    <a:pt x="50" y="0"/>
                    <a:pt x="50" y="0"/>
                  </a:cubicBezTo>
                  <a:cubicBezTo>
                    <a:pt x="52" y="0"/>
                    <a:pt x="52" y="0"/>
                    <a:pt x="52" y="0"/>
                  </a:cubicBezTo>
                  <a:cubicBezTo>
                    <a:pt x="56" y="0"/>
                    <a:pt x="58" y="1"/>
                    <a:pt x="58" y="6"/>
                  </a:cubicBezTo>
                  <a:cubicBezTo>
                    <a:pt x="58" y="67"/>
                    <a:pt x="58" y="67"/>
                    <a:pt x="58" y="67"/>
                  </a:cubicBezTo>
                  <a:cubicBezTo>
                    <a:pt x="109" y="67"/>
                    <a:pt x="109" y="67"/>
                    <a:pt x="109" y="67"/>
                  </a:cubicBezTo>
                  <a:cubicBezTo>
                    <a:pt x="112" y="67"/>
                    <a:pt x="115" y="69"/>
                    <a:pt x="115" y="72"/>
                  </a:cubicBezTo>
                  <a:cubicBezTo>
                    <a:pt x="115" y="103"/>
                    <a:pt x="115" y="103"/>
                    <a:pt x="115" y="103"/>
                  </a:cubicBezTo>
                  <a:cubicBezTo>
                    <a:pt x="115" y="106"/>
                    <a:pt x="112" y="108"/>
                    <a:pt x="109" y="108"/>
                  </a:cubicBezTo>
                  <a:cubicBezTo>
                    <a:pt x="58" y="108"/>
                    <a:pt x="58" y="108"/>
                    <a:pt x="58" y="108"/>
                  </a:cubicBezTo>
                  <a:cubicBezTo>
                    <a:pt x="58" y="204"/>
                    <a:pt x="58" y="204"/>
                    <a:pt x="58" y="204"/>
                  </a:cubicBezTo>
                  <a:cubicBezTo>
                    <a:pt x="58" y="219"/>
                    <a:pt x="63" y="228"/>
                    <a:pt x="83" y="228"/>
                  </a:cubicBezTo>
                  <a:cubicBezTo>
                    <a:pt x="94" y="228"/>
                    <a:pt x="104" y="226"/>
                    <a:pt x="110" y="225"/>
                  </a:cubicBezTo>
                  <a:cubicBezTo>
                    <a:pt x="111" y="225"/>
                    <a:pt x="111" y="225"/>
                    <a:pt x="111" y="225"/>
                  </a:cubicBezTo>
                  <a:cubicBezTo>
                    <a:pt x="114" y="225"/>
                    <a:pt x="115" y="226"/>
                    <a:pt x="116" y="229"/>
                  </a:cubicBezTo>
                  <a:cubicBezTo>
                    <a:pt x="121" y="253"/>
                    <a:pt x="121" y="253"/>
                    <a:pt x="121" y="253"/>
                  </a:cubicBezTo>
                  <a:lnTo>
                    <a:pt x="121" y="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9" name="Freeform 38"/>
            <p:cNvSpPr>
              <a:spLocks noEditPoints="1"/>
            </p:cNvSpPr>
            <p:nvPr/>
          </p:nvSpPr>
          <p:spPr bwMode="auto">
            <a:xfrm>
              <a:off x="7083425" y="3248025"/>
              <a:ext cx="384175" cy="422275"/>
            </a:xfrm>
            <a:custGeom>
              <a:avLst/>
              <a:gdLst/>
              <a:ahLst/>
              <a:cxnLst>
                <a:cxn ang="0">
                  <a:pos x="189" y="119"/>
                </a:cxn>
                <a:cxn ang="0">
                  <a:pos x="180" y="129"/>
                </a:cxn>
                <a:cxn ang="0">
                  <a:pos x="58" y="129"/>
                </a:cxn>
                <a:cxn ang="0">
                  <a:pos x="74" y="161"/>
                </a:cxn>
                <a:cxn ang="0">
                  <a:pos x="115" y="170"/>
                </a:cxn>
                <a:cxn ang="0">
                  <a:pos x="167" y="161"/>
                </a:cxn>
                <a:cxn ang="0">
                  <a:pos x="168" y="161"/>
                </a:cxn>
                <a:cxn ang="0">
                  <a:pos x="174" y="167"/>
                </a:cxn>
                <a:cxn ang="0">
                  <a:pos x="179" y="188"/>
                </a:cxn>
                <a:cxn ang="0">
                  <a:pos x="180" y="190"/>
                </a:cxn>
                <a:cxn ang="0">
                  <a:pos x="176" y="196"/>
                </a:cxn>
                <a:cxn ang="0">
                  <a:pos x="105" y="209"/>
                </a:cxn>
                <a:cxn ang="0">
                  <a:pos x="0" y="105"/>
                </a:cxn>
                <a:cxn ang="0">
                  <a:pos x="95" y="0"/>
                </a:cxn>
                <a:cxn ang="0">
                  <a:pos x="171" y="26"/>
                </a:cxn>
                <a:cxn ang="0">
                  <a:pos x="190" y="101"/>
                </a:cxn>
                <a:cxn ang="0">
                  <a:pos x="189" y="119"/>
                </a:cxn>
                <a:cxn ang="0">
                  <a:pos x="132" y="92"/>
                </a:cxn>
                <a:cxn ang="0">
                  <a:pos x="130" y="65"/>
                </a:cxn>
                <a:cxn ang="0">
                  <a:pos x="96" y="38"/>
                </a:cxn>
                <a:cxn ang="0">
                  <a:pos x="60" y="63"/>
                </a:cxn>
                <a:cxn ang="0">
                  <a:pos x="58" y="94"/>
                </a:cxn>
                <a:cxn ang="0">
                  <a:pos x="132" y="94"/>
                </a:cxn>
                <a:cxn ang="0">
                  <a:pos x="132" y="92"/>
                </a:cxn>
              </a:cxnLst>
              <a:rect l="0" t="0" r="r" b="b"/>
              <a:pathLst>
                <a:path w="190" h="209">
                  <a:moveTo>
                    <a:pt x="189" y="119"/>
                  </a:moveTo>
                  <a:cubicBezTo>
                    <a:pt x="189" y="124"/>
                    <a:pt x="187" y="129"/>
                    <a:pt x="180" y="129"/>
                  </a:cubicBezTo>
                  <a:cubicBezTo>
                    <a:pt x="58" y="129"/>
                    <a:pt x="58" y="129"/>
                    <a:pt x="58" y="129"/>
                  </a:cubicBezTo>
                  <a:cubicBezTo>
                    <a:pt x="58" y="145"/>
                    <a:pt x="63" y="154"/>
                    <a:pt x="74" y="161"/>
                  </a:cubicBezTo>
                  <a:cubicBezTo>
                    <a:pt x="83" y="167"/>
                    <a:pt x="96" y="170"/>
                    <a:pt x="115" y="170"/>
                  </a:cubicBezTo>
                  <a:cubicBezTo>
                    <a:pt x="138" y="170"/>
                    <a:pt x="157" y="164"/>
                    <a:pt x="167" y="161"/>
                  </a:cubicBezTo>
                  <a:cubicBezTo>
                    <a:pt x="168" y="161"/>
                    <a:pt x="168" y="161"/>
                    <a:pt x="168" y="161"/>
                  </a:cubicBezTo>
                  <a:cubicBezTo>
                    <a:pt x="171" y="161"/>
                    <a:pt x="173" y="163"/>
                    <a:pt x="174" y="167"/>
                  </a:cubicBezTo>
                  <a:cubicBezTo>
                    <a:pt x="179" y="188"/>
                    <a:pt x="179" y="188"/>
                    <a:pt x="179" y="188"/>
                  </a:cubicBezTo>
                  <a:cubicBezTo>
                    <a:pt x="180" y="189"/>
                    <a:pt x="180" y="189"/>
                    <a:pt x="180" y="190"/>
                  </a:cubicBezTo>
                  <a:cubicBezTo>
                    <a:pt x="180" y="193"/>
                    <a:pt x="178" y="195"/>
                    <a:pt x="176" y="196"/>
                  </a:cubicBezTo>
                  <a:cubicBezTo>
                    <a:pt x="164" y="201"/>
                    <a:pt x="137" y="209"/>
                    <a:pt x="105" y="209"/>
                  </a:cubicBezTo>
                  <a:cubicBezTo>
                    <a:pt x="31" y="209"/>
                    <a:pt x="0" y="182"/>
                    <a:pt x="0" y="105"/>
                  </a:cubicBezTo>
                  <a:cubicBezTo>
                    <a:pt x="0" y="31"/>
                    <a:pt x="22" y="0"/>
                    <a:pt x="95" y="0"/>
                  </a:cubicBezTo>
                  <a:cubicBezTo>
                    <a:pt x="133" y="0"/>
                    <a:pt x="156" y="9"/>
                    <a:pt x="171" y="26"/>
                  </a:cubicBezTo>
                  <a:cubicBezTo>
                    <a:pt x="185" y="43"/>
                    <a:pt x="190" y="68"/>
                    <a:pt x="190" y="101"/>
                  </a:cubicBezTo>
                  <a:cubicBezTo>
                    <a:pt x="190" y="106"/>
                    <a:pt x="189" y="114"/>
                    <a:pt x="189" y="119"/>
                  </a:cubicBezTo>
                  <a:close/>
                  <a:moveTo>
                    <a:pt x="132" y="92"/>
                  </a:moveTo>
                  <a:cubicBezTo>
                    <a:pt x="132" y="81"/>
                    <a:pt x="131" y="73"/>
                    <a:pt x="130" y="65"/>
                  </a:cubicBezTo>
                  <a:cubicBezTo>
                    <a:pt x="125" y="45"/>
                    <a:pt x="115" y="38"/>
                    <a:pt x="96" y="38"/>
                  </a:cubicBezTo>
                  <a:cubicBezTo>
                    <a:pt x="72" y="38"/>
                    <a:pt x="63" y="46"/>
                    <a:pt x="60" y="63"/>
                  </a:cubicBezTo>
                  <a:cubicBezTo>
                    <a:pt x="58" y="73"/>
                    <a:pt x="58" y="82"/>
                    <a:pt x="58" y="94"/>
                  </a:cubicBezTo>
                  <a:cubicBezTo>
                    <a:pt x="132" y="94"/>
                    <a:pt x="132" y="94"/>
                    <a:pt x="132" y="94"/>
                  </a:cubicBezTo>
                  <a:lnTo>
                    <a:pt x="132"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0" name="Freeform 39"/>
            <p:cNvSpPr>
              <a:spLocks/>
            </p:cNvSpPr>
            <p:nvPr/>
          </p:nvSpPr>
          <p:spPr bwMode="auto">
            <a:xfrm>
              <a:off x="7515225" y="3248025"/>
              <a:ext cx="230188" cy="412750"/>
            </a:xfrm>
            <a:custGeom>
              <a:avLst/>
              <a:gdLst/>
              <a:ahLst/>
              <a:cxnLst>
                <a:cxn ang="0">
                  <a:pos x="107" y="43"/>
                </a:cxn>
                <a:cxn ang="0">
                  <a:pos x="59" y="48"/>
                </a:cxn>
                <a:cxn ang="0">
                  <a:pos x="59" y="198"/>
                </a:cxn>
                <a:cxn ang="0">
                  <a:pos x="53" y="204"/>
                </a:cxn>
                <a:cxn ang="0">
                  <a:pos x="6" y="204"/>
                </a:cxn>
                <a:cxn ang="0">
                  <a:pos x="0" y="198"/>
                </a:cxn>
                <a:cxn ang="0">
                  <a:pos x="0" y="32"/>
                </a:cxn>
                <a:cxn ang="0">
                  <a:pos x="17" y="13"/>
                </a:cxn>
                <a:cxn ang="0">
                  <a:pos x="63" y="4"/>
                </a:cxn>
                <a:cxn ang="0">
                  <a:pos x="100" y="0"/>
                </a:cxn>
                <a:cxn ang="0">
                  <a:pos x="103" y="0"/>
                </a:cxn>
                <a:cxn ang="0">
                  <a:pos x="111" y="2"/>
                </a:cxn>
                <a:cxn ang="0">
                  <a:pos x="114" y="8"/>
                </a:cxn>
                <a:cxn ang="0">
                  <a:pos x="114" y="36"/>
                </a:cxn>
                <a:cxn ang="0">
                  <a:pos x="107" y="43"/>
                </a:cxn>
              </a:cxnLst>
              <a:rect l="0" t="0" r="r" b="b"/>
              <a:pathLst>
                <a:path w="114" h="204">
                  <a:moveTo>
                    <a:pt x="107" y="43"/>
                  </a:moveTo>
                  <a:cubicBezTo>
                    <a:pt x="85" y="43"/>
                    <a:pt x="65" y="46"/>
                    <a:pt x="59" y="48"/>
                  </a:cubicBezTo>
                  <a:cubicBezTo>
                    <a:pt x="59" y="198"/>
                    <a:pt x="59" y="198"/>
                    <a:pt x="59" y="198"/>
                  </a:cubicBezTo>
                  <a:cubicBezTo>
                    <a:pt x="59" y="202"/>
                    <a:pt x="56" y="204"/>
                    <a:pt x="53" y="204"/>
                  </a:cubicBezTo>
                  <a:cubicBezTo>
                    <a:pt x="6" y="204"/>
                    <a:pt x="6" y="204"/>
                    <a:pt x="6" y="204"/>
                  </a:cubicBezTo>
                  <a:cubicBezTo>
                    <a:pt x="4" y="204"/>
                    <a:pt x="0" y="202"/>
                    <a:pt x="0" y="198"/>
                  </a:cubicBezTo>
                  <a:cubicBezTo>
                    <a:pt x="0" y="32"/>
                    <a:pt x="0" y="32"/>
                    <a:pt x="0" y="32"/>
                  </a:cubicBezTo>
                  <a:cubicBezTo>
                    <a:pt x="0" y="21"/>
                    <a:pt x="6" y="17"/>
                    <a:pt x="17" y="13"/>
                  </a:cubicBezTo>
                  <a:cubicBezTo>
                    <a:pt x="29" y="9"/>
                    <a:pt x="47" y="6"/>
                    <a:pt x="63" y="4"/>
                  </a:cubicBezTo>
                  <a:cubicBezTo>
                    <a:pt x="74" y="2"/>
                    <a:pt x="87" y="1"/>
                    <a:pt x="100" y="0"/>
                  </a:cubicBezTo>
                  <a:cubicBezTo>
                    <a:pt x="103" y="0"/>
                    <a:pt x="103" y="0"/>
                    <a:pt x="103" y="0"/>
                  </a:cubicBezTo>
                  <a:cubicBezTo>
                    <a:pt x="108" y="0"/>
                    <a:pt x="109" y="1"/>
                    <a:pt x="111" y="2"/>
                  </a:cubicBezTo>
                  <a:cubicBezTo>
                    <a:pt x="112" y="3"/>
                    <a:pt x="114" y="5"/>
                    <a:pt x="114" y="8"/>
                  </a:cubicBezTo>
                  <a:cubicBezTo>
                    <a:pt x="114" y="36"/>
                    <a:pt x="114" y="36"/>
                    <a:pt x="114" y="36"/>
                  </a:cubicBezTo>
                  <a:cubicBezTo>
                    <a:pt x="114" y="40"/>
                    <a:pt x="113" y="43"/>
                    <a:pt x="107"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1" name="Freeform 40"/>
            <p:cNvSpPr>
              <a:spLocks noEditPoints="1"/>
            </p:cNvSpPr>
            <p:nvPr/>
          </p:nvSpPr>
          <p:spPr bwMode="auto">
            <a:xfrm>
              <a:off x="7767638" y="3248025"/>
              <a:ext cx="371475" cy="422275"/>
            </a:xfrm>
            <a:custGeom>
              <a:avLst/>
              <a:gdLst/>
              <a:ahLst/>
              <a:cxnLst>
                <a:cxn ang="0">
                  <a:pos x="147" y="204"/>
                </a:cxn>
                <a:cxn ang="0">
                  <a:pos x="93" y="209"/>
                </a:cxn>
                <a:cxn ang="0">
                  <a:pos x="0" y="144"/>
                </a:cxn>
                <a:cxn ang="0">
                  <a:pos x="59" y="85"/>
                </a:cxn>
                <a:cxn ang="0">
                  <a:pos x="125" y="74"/>
                </a:cxn>
                <a:cxn ang="0">
                  <a:pos x="125" y="64"/>
                </a:cxn>
                <a:cxn ang="0">
                  <a:pos x="116" y="43"/>
                </a:cxn>
                <a:cxn ang="0">
                  <a:pos x="89" y="40"/>
                </a:cxn>
                <a:cxn ang="0">
                  <a:pos x="25" y="50"/>
                </a:cxn>
                <a:cxn ang="0">
                  <a:pos x="23" y="51"/>
                </a:cxn>
                <a:cxn ang="0">
                  <a:pos x="19" y="47"/>
                </a:cxn>
                <a:cxn ang="0">
                  <a:pos x="13" y="21"/>
                </a:cxn>
                <a:cxn ang="0">
                  <a:pos x="13" y="19"/>
                </a:cxn>
                <a:cxn ang="0">
                  <a:pos x="17" y="13"/>
                </a:cxn>
                <a:cxn ang="0">
                  <a:pos x="102" y="0"/>
                </a:cxn>
                <a:cxn ang="0">
                  <a:pos x="159" y="11"/>
                </a:cxn>
                <a:cxn ang="0">
                  <a:pos x="184" y="60"/>
                </a:cxn>
                <a:cxn ang="0">
                  <a:pos x="184" y="164"/>
                </a:cxn>
                <a:cxn ang="0">
                  <a:pos x="147" y="204"/>
                </a:cxn>
                <a:cxn ang="0">
                  <a:pos x="126" y="109"/>
                </a:cxn>
                <a:cxn ang="0">
                  <a:pos x="85" y="116"/>
                </a:cxn>
                <a:cxn ang="0">
                  <a:pos x="58" y="143"/>
                </a:cxn>
                <a:cxn ang="0">
                  <a:pos x="94" y="172"/>
                </a:cxn>
                <a:cxn ang="0">
                  <a:pos x="126" y="168"/>
                </a:cxn>
                <a:cxn ang="0">
                  <a:pos x="126" y="109"/>
                </a:cxn>
              </a:cxnLst>
              <a:rect l="0" t="0" r="r" b="b"/>
              <a:pathLst>
                <a:path w="184" h="209">
                  <a:moveTo>
                    <a:pt x="147" y="204"/>
                  </a:moveTo>
                  <a:cubicBezTo>
                    <a:pt x="133" y="207"/>
                    <a:pt x="115" y="209"/>
                    <a:pt x="93" y="209"/>
                  </a:cubicBezTo>
                  <a:cubicBezTo>
                    <a:pt x="49" y="209"/>
                    <a:pt x="0" y="203"/>
                    <a:pt x="0" y="144"/>
                  </a:cubicBezTo>
                  <a:cubicBezTo>
                    <a:pt x="0" y="95"/>
                    <a:pt x="31" y="89"/>
                    <a:pt x="59" y="85"/>
                  </a:cubicBezTo>
                  <a:cubicBezTo>
                    <a:pt x="125" y="74"/>
                    <a:pt x="125" y="74"/>
                    <a:pt x="125" y="74"/>
                  </a:cubicBezTo>
                  <a:cubicBezTo>
                    <a:pt x="125" y="64"/>
                    <a:pt x="125" y="64"/>
                    <a:pt x="125" y="64"/>
                  </a:cubicBezTo>
                  <a:cubicBezTo>
                    <a:pt x="125" y="54"/>
                    <a:pt x="124" y="47"/>
                    <a:pt x="116" y="43"/>
                  </a:cubicBezTo>
                  <a:cubicBezTo>
                    <a:pt x="111" y="41"/>
                    <a:pt x="102" y="40"/>
                    <a:pt x="89" y="40"/>
                  </a:cubicBezTo>
                  <a:cubicBezTo>
                    <a:pt x="65" y="40"/>
                    <a:pt x="36" y="48"/>
                    <a:pt x="25" y="50"/>
                  </a:cubicBezTo>
                  <a:cubicBezTo>
                    <a:pt x="25" y="50"/>
                    <a:pt x="24" y="51"/>
                    <a:pt x="23" y="51"/>
                  </a:cubicBezTo>
                  <a:cubicBezTo>
                    <a:pt x="21" y="51"/>
                    <a:pt x="19" y="49"/>
                    <a:pt x="19" y="47"/>
                  </a:cubicBezTo>
                  <a:cubicBezTo>
                    <a:pt x="13" y="21"/>
                    <a:pt x="13" y="21"/>
                    <a:pt x="13" y="21"/>
                  </a:cubicBezTo>
                  <a:cubicBezTo>
                    <a:pt x="13" y="20"/>
                    <a:pt x="13" y="20"/>
                    <a:pt x="13" y="19"/>
                  </a:cubicBezTo>
                  <a:cubicBezTo>
                    <a:pt x="13" y="16"/>
                    <a:pt x="15" y="14"/>
                    <a:pt x="17" y="13"/>
                  </a:cubicBezTo>
                  <a:cubicBezTo>
                    <a:pt x="25" y="10"/>
                    <a:pt x="61" y="0"/>
                    <a:pt x="102" y="0"/>
                  </a:cubicBezTo>
                  <a:cubicBezTo>
                    <a:pt x="128" y="0"/>
                    <a:pt x="147" y="4"/>
                    <a:pt x="159" y="11"/>
                  </a:cubicBezTo>
                  <a:cubicBezTo>
                    <a:pt x="178" y="21"/>
                    <a:pt x="184" y="38"/>
                    <a:pt x="184" y="60"/>
                  </a:cubicBezTo>
                  <a:cubicBezTo>
                    <a:pt x="184" y="164"/>
                    <a:pt x="184" y="164"/>
                    <a:pt x="184" y="164"/>
                  </a:cubicBezTo>
                  <a:cubicBezTo>
                    <a:pt x="184" y="193"/>
                    <a:pt x="173" y="198"/>
                    <a:pt x="147" y="204"/>
                  </a:cubicBezTo>
                  <a:close/>
                  <a:moveTo>
                    <a:pt x="126" y="109"/>
                  </a:moveTo>
                  <a:cubicBezTo>
                    <a:pt x="85" y="116"/>
                    <a:pt x="85" y="116"/>
                    <a:pt x="85" y="116"/>
                  </a:cubicBezTo>
                  <a:cubicBezTo>
                    <a:pt x="71" y="118"/>
                    <a:pt x="58" y="120"/>
                    <a:pt x="58" y="143"/>
                  </a:cubicBezTo>
                  <a:cubicBezTo>
                    <a:pt x="58" y="170"/>
                    <a:pt x="79" y="172"/>
                    <a:pt x="94" y="172"/>
                  </a:cubicBezTo>
                  <a:cubicBezTo>
                    <a:pt x="108" y="172"/>
                    <a:pt x="121" y="169"/>
                    <a:pt x="126" y="168"/>
                  </a:cubicBezTo>
                  <a:lnTo>
                    <a:pt x="126"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2" name="Freeform 41"/>
            <p:cNvSpPr>
              <a:spLocks noEditPoints="1"/>
            </p:cNvSpPr>
            <p:nvPr/>
          </p:nvSpPr>
          <p:spPr bwMode="auto">
            <a:xfrm>
              <a:off x="4910138" y="2455863"/>
              <a:ext cx="1085850" cy="919162"/>
            </a:xfrm>
            <a:custGeom>
              <a:avLst/>
              <a:gdLst/>
              <a:ahLst/>
              <a:cxnLst>
                <a:cxn ang="0">
                  <a:pos x="470" y="238"/>
                </a:cxn>
                <a:cxn ang="0">
                  <a:pos x="497" y="67"/>
                </a:cxn>
                <a:cxn ang="0">
                  <a:pos x="326" y="39"/>
                </a:cxn>
                <a:cxn ang="0">
                  <a:pos x="220" y="250"/>
                </a:cxn>
                <a:cxn ang="0">
                  <a:pos x="50" y="276"/>
                </a:cxn>
                <a:cxn ang="0">
                  <a:pos x="29" y="404"/>
                </a:cxn>
                <a:cxn ang="0">
                  <a:pos x="158" y="425"/>
                </a:cxn>
                <a:cxn ang="0">
                  <a:pos x="235" y="272"/>
                </a:cxn>
                <a:cxn ang="0">
                  <a:pos x="470" y="238"/>
                </a:cxn>
                <a:cxn ang="0">
                  <a:pos x="295" y="137"/>
                </a:cxn>
                <a:cxn ang="0">
                  <a:pos x="381" y="151"/>
                </a:cxn>
                <a:cxn ang="0">
                  <a:pos x="367" y="237"/>
                </a:cxn>
                <a:cxn ang="0">
                  <a:pos x="242" y="254"/>
                </a:cxn>
                <a:cxn ang="0">
                  <a:pos x="238" y="254"/>
                </a:cxn>
                <a:cxn ang="0">
                  <a:pos x="239" y="250"/>
                </a:cxn>
                <a:cxn ang="0">
                  <a:pos x="295" y="137"/>
                </a:cxn>
                <a:cxn ang="0">
                  <a:pos x="175" y="356"/>
                </a:cxn>
                <a:cxn ang="0">
                  <a:pos x="110" y="346"/>
                </a:cxn>
                <a:cxn ang="0">
                  <a:pos x="121" y="281"/>
                </a:cxn>
                <a:cxn ang="0">
                  <a:pos x="214" y="268"/>
                </a:cxn>
                <a:cxn ang="0">
                  <a:pos x="218" y="268"/>
                </a:cxn>
                <a:cxn ang="0">
                  <a:pos x="217" y="272"/>
                </a:cxn>
                <a:cxn ang="0">
                  <a:pos x="175" y="356"/>
                </a:cxn>
              </a:cxnLst>
              <a:rect l="0" t="0" r="r" b="b"/>
              <a:pathLst>
                <a:path w="537" h="455">
                  <a:moveTo>
                    <a:pt x="470" y="238"/>
                  </a:moveTo>
                  <a:cubicBezTo>
                    <a:pt x="524" y="198"/>
                    <a:pt x="537" y="122"/>
                    <a:pt x="497" y="67"/>
                  </a:cubicBezTo>
                  <a:cubicBezTo>
                    <a:pt x="458" y="12"/>
                    <a:pt x="381" y="0"/>
                    <a:pt x="326" y="39"/>
                  </a:cubicBezTo>
                  <a:cubicBezTo>
                    <a:pt x="283" y="71"/>
                    <a:pt x="237" y="199"/>
                    <a:pt x="220" y="250"/>
                  </a:cubicBezTo>
                  <a:cubicBezTo>
                    <a:pt x="176" y="251"/>
                    <a:pt x="81" y="253"/>
                    <a:pt x="50" y="276"/>
                  </a:cubicBezTo>
                  <a:cubicBezTo>
                    <a:pt x="9" y="306"/>
                    <a:pt x="0" y="363"/>
                    <a:pt x="29" y="404"/>
                  </a:cubicBezTo>
                  <a:cubicBezTo>
                    <a:pt x="59" y="445"/>
                    <a:pt x="116" y="455"/>
                    <a:pt x="158" y="425"/>
                  </a:cubicBezTo>
                  <a:cubicBezTo>
                    <a:pt x="189" y="402"/>
                    <a:pt x="222" y="313"/>
                    <a:pt x="235" y="272"/>
                  </a:cubicBezTo>
                  <a:cubicBezTo>
                    <a:pt x="289" y="272"/>
                    <a:pt x="426" y="269"/>
                    <a:pt x="470" y="238"/>
                  </a:cubicBezTo>
                  <a:close/>
                  <a:moveTo>
                    <a:pt x="295" y="137"/>
                  </a:moveTo>
                  <a:cubicBezTo>
                    <a:pt x="322" y="117"/>
                    <a:pt x="361" y="123"/>
                    <a:pt x="381" y="151"/>
                  </a:cubicBezTo>
                  <a:cubicBezTo>
                    <a:pt x="401" y="178"/>
                    <a:pt x="395" y="217"/>
                    <a:pt x="367" y="237"/>
                  </a:cubicBezTo>
                  <a:cubicBezTo>
                    <a:pt x="343" y="255"/>
                    <a:pt x="261" y="254"/>
                    <a:pt x="242" y="254"/>
                  </a:cubicBezTo>
                  <a:cubicBezTo>
                    <a:pt x="239" y="254"/>
                    <a:pt x="238" y="254"/>
                    <a:pt x="238" y="254"/>
                  </a:cubicBezTo>
                  <a:cubicBezTo>
                    <a:pt x="238" y="254"/>
                    <a:pt x="238" y="253"/>
                    <a:pt x="239" y="250"/>
                  </a:cubicBezTo>
                  <a:cubicBezTo>
                    <a:pt x="245" y="232"/>
                    <a:pt x="270" y="154"/>
                    <a:pt x="295" y="137"/>
                  </a:cubicBezTo>
                  <a:close/>
                  <a:moveTo>
                    <a:pt x="175" y="356"/>
                  </a:moveTo>
                  <a:cubicBezTo>
                    <a:pt x="154" y="371"/>
                    <a:pt x="125" y="367"/>
                    <a:pt x="110" y="346"/>
                  </a:cubicBezTo>
                  <a:cubicBezTo>
                    <a:pt x="95" y="325"/>
                    <a:pt x="100" y="296"/>
                    <a:pt x="121" y="281"/>
                  </a:cubicBezTo>
                  <a:cubicBezTo>
                    <a:pt x="139" y="268"/>
                    <a:pt x="198" y="268"/>
                    <a:pt x="214" y="268"/>
                  </a:cubicBezTo>
                  <a:cubicBezTo>
                    <a:pt x="216" y="268"/>
                    <a:pt x="218" y="268"/>
                    <a:pt x="218" y="268"/>
                  </a:cubicBezTo>
                  <a:cubicBezTo>
                    <a:pt x="218" y="268"/>
                    <a:pt x="218" y="270"/>
                    <a:pt x="217" y="272"/>
                  </a:cubicBezTo>
                  <a:cubicBezTo>
                    <a:pt x="212" y="288"/>
                    <a:pt x="193" y="343"/>
                    <a:pt x="175" y="3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grpSp>
    </p:spTree>
    <p:extLst>
      <p:ext uri="{BB962C8B-B14F-4D97-AF65-F5344CB8AC3E}">
        <p14:creationId xmlns:p14="http://schemas.microsoft.com/office/powerpoint/2010/main" val="545208639"/>
      </p:ext>
    </p:extLst>
  </p:cSld>
  <p:clrMapOvr>
    <a:masterClrMapping/>
  </p:clrMapOvr>
  <p:transition xmlns:p14="http://schemas.microsoft.com/office/powerpoint/2010/mai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accent6"/>
                </a:solidFill>
              </a:defRPr>
            </a:lvl1pPr>
          </a:lstStyle>
          <a:p>
            <a:endParaRPr lang="en-US" dirty="0">
              <a:solidFill>
                <a:srgbClr val="B4B4B4"/>
              </a:solidFill>
            </a:endParaRP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52BB5B38-2141-4D75-B405-23F83BDD5945}" type="slidenum">
              <a:rPr lang="en-US" smtClean="0">
                <a:solidFill>
                  <a:srgbClr val="B4B4B4"/>
                </a:solidFill>
              </a:rPr>
              <a:pPr/>
              <a:t>‹#›</a:t>
            </a:fld>
            <a:endParaRPr lang="en-US">
              <a:solidFill>
                <a:srgbClr val="B4B4B4"/>
              </a:solidFill>
            </a:endParaRPr>
          </a:p>
        </p:txBody>
      </p:sp>
      <p:grpSp>
        <p:nvGrpSpPr>
          <p:cNvPr id="32" name="Group 7"/>
          <p:cNvGrpSpPr>
            <a:grpSpLocks noChangeAspect="1"/>
          </p:cNvGrpSpPr>
          <p:nvPr userDrawn="1"/>
        </p:nvGrpSpPr>
        <p:grpSpPr>
          <a:xfrm>
            <a:off x="336180" y="4872435"/>
            <a:ext cx="689616" cy="194526"/>
            <a:chOff x="4910138" y="2455863"/>
            <a:chExt cx="3228975" cy="1214437"/>
          </a:xfrm>
          <a:solidFill>
            <a:schemeClr val="tx1"/>
          </a:solidFill>
        </p:grpSpPr>
        <p:sp>
          <p:nvSpPr>
            <p:cNvPr id="33" name="Freeform 32"/>
            <p:cNvSpPr>
              <a:spLocks/>
            </p:cNvSpPr>
            <p:nvPr/>
          </p:nvSpPr>
          <p:spPr bwMode="auto">
            <a:xfrm>
              <a:off x="5408613" y="3094038"/>
              <a:ext cx="492125" cy="566737"/>
            </a:xfrm>
            <a:custGeom>
              <a:avLst/>
              <a:gdLst/>
              <a:ahLst/>
              <a:cxnLst>
                <a:cxn ang="0">
                  <a:pos x="243" y="274"/>
                </a:cxn>
                <a:cxn ang="0">
                  <a:pos x="238" y="280"/>
                </a:cxn>
                <a:cxn ang="0">
                  <a:pos x="174" y="280"/>
                </a:cxn>
                <a:cxn ang="0">
                  <a:pos x="166" y="276"/>
                </a:cxn>
                <a:cxn ang="0">
                  <a:pos x="81" y="162"/>
                </a:cxn>
                <a:cxn ang="0">
                  <a:pos x="63" y="162"/>
                </a:cxn>
                <a:cxn ang="0">
                  <a:pos x="63" y="274"/>
                </a:cxn>
                <a:cxn ang="0">
                  <a:pos x="57" y="280"/>
                </a:cxn>
                <a:cxn ang="0">
                  <a:pos x="6" y="280"/>
                </a:cxn>
                <a:cxn ang="0">
                  <a:pos x="0" y="274"/>
                </a:cxn>
                <a:cxn ang="0">
                  <a:pos x="0" y="5"/>
                </a:cxn>
                <a:cxn ang="0">
                  <a:pos x="6" y="0"/>
                </a:cxn>
                <a:cxn ang="0">
                  <a:pos x="57" y="0"/>
                </a:cxn>
                <a:cxn ang="0">
                  <a:pos x="63" y="5"/>
                </a:cxn>
                <a:cxn ang="0">
                  <a:pos x="63" y="116"/>
                </a:cxn>
                <a:cxn ang="0">
                  <a:pos x="81" y="116"/>
                </a:cxn>
                <a:cxn ang="0">
                  <a:pos x="163" y="3"/>
                </a:cxn>
                <a:cxn ang="0">
                  <a:pos x="169" y="0"/>
                </a:cxn>
                <a:cxn ang="0">
                  <a:pos x="170" y="0"/>
                </a:cxn>
                <a:cxn ang="0">
                  <a:pos x="230" y="0"/>
                </a:cxn>
                <a:cxn ang="0">
                  <a:pos x="235" y="6"/>
                </a:cxn>
                <a:cxn ang="0">
                  <a:pos x="234" y="9"/>
                </a:cxn>
                <a:cxn ang="0">
                  <a:pos x="134" y="137"/>
                </a:cxn>
                <a:cxn ang="0">
                  <a:pos x="242" y="271"/>
                </a:cxn>
                <a:cxn ang="0">
                  <a:pos x="243" y="274"/>
                </a:cxn>
              </a:cxnLst>
              <a:rect l="0" t="0" r="r" b="b"/>
              <a:pathLst>
                <a:path w="243" h="280">
                  <a:moveTo>
                    <a:pt x="243" y="274"/>
                  </a:moveTo>
                  <a:cubicBezTo>
                    <a:pt x="243" y="277"/>
                    <a:pt x="240" y="280"/>
                    <a:pt x="238" y="280"/>
                  </a:cubicBezTo>
                  <a:cubicBezTo>
                    <a:pt x="174" y="280"/>
                    <a:pt x="174" y="280"/>
                    <a:pt x="174" y="280"/>
                  </a:cubicBezTo>
                  <a:cubicBezTo>
                    <a:pt x="170" y="280"/>
                    <a:pt x="167" y="278"/>
                    <a:pt x="166" y="276"/>
                  </a:cubicBezTo>
                  <a:cubicBezTo>
                    <a:pt x="81" y="162"/>
                    <a:pt x="81" y="162"/>
                    <a:pt x="81" y="162"/>
                  </a:cubicBezTo>
                  <a:cubicBezTo>
                    <a:pt x="63" y="162"/>
                    <a:pt x="63" y="162"/>
                    <a:pt x="63" y="162"/>
                  </a:cubicBezTo>
                  <a:cubicBezTo>
                    <a:pt x="63" y="274"/>
                    <a:pt x="63" y="274"/>
                    <a:pt x="63" y="274"/>
                  </a:cubicBezTo>
                  <a:cubicBezTo>
                    <a:pt x="63" y="278"/>
                    <a:pt x="60" y="280"/>
                    <a:pt x="57" y="280"/>
                  </a:cubicBezTo>
                  <a:cubicBezTo>
                    <a:pt x="6" y="280"/>
                    <a:pt x="6" y="280"/>
                    <a:pt x="6" y="280"/>
                  </a:cubicBezTo>
                  <a:cubicBezTo>
                    <a:pt x="3" y="280"/>
                    <a:pt x="0" y="278"/>
                    <a:pt x="0" y="274"/>
                  </a:cubicBezTo>
                  <a:cubicBezTo>
                    <a:pt x="0" y="5"/>
                    <a:pt x="0" y="5"/>
                    <a:pt x="0" y="5"/>
                  </a:cubicBezTo>
                  <a:cubicBezTo>
                    <a:pt x="0" y="2"/>
                    <a:pt x="3" y="0"/>
                    <a:pt x="6" y="0"/>
                  </a:cubicBezTo>
                  <a:cubicBezTo>
                    <a:pt x="57" y="0"/>
                    <a:pt x="57" y="0"/>
                    <a:pt x="57" y="0"/>
                  </a:cubicBezTo>
                  <a:cubicBezTo>
                    <a:pt x="60" y="0"/>
                    <a:pt x="63" y="2"/>
                    <a:pt x="63" y="5"/>
                  </a:cubicBezTo>
                  <a:cubicBezTo>
                    <a:pt x="63" y="116"/>
                    <a:pt x="63" y="116"/>
                    <a:pt x="63" y="116"/>
                  </a:cubicBezTo>
                  <a:cubicBezTo>
                    <a:pt x="81" y="116"/>
                    <a:pt x="81" y="116"/>
                    <a:pt x="81" y="116"/>
                  </a:cubicBezTo>
                  <a:cubicBezTo>
                    <a:pt x="163" y="3"/>
                    <a:pt x="163" y="3"/>
                    <a:pt x="163" y="3"/>
                  </a:cubicBezTo>
                  <a:cubicBezTo>
                    <a:pt x="165" y="1"/>
                    <a:pt x="166" y="0"/>
                    <a:pt x="169" y="0"/>
                  </a:cubicBezTo>
                  <a:cubicBezTo>
                    <a:pt x="170" y="0"/>
                    <a:pt x="170" y="0"/>
                    <a:pt x="170" y="0"/>
                  </a:cubicBezTo>
                  <a:cubicBezTo>
                    <a:pt x="230" y="0"/>
                    <a:pt x="230" y="0"/>
                    <a:pt x="230" y="0"/>
                  </a:cubicBezTo>
                  <a:cubicBezTo>
                    <a:pt x="232" y="0"/>
                    <a:pt x="235" y="3"/>
                    <a:pt x="235" y="6"/>
                  </a:cubicBezTo>
                  <a:cubicBezTo>
                    <a:pt x="235" y="7"/>
                    <a:pt x="234" y="8"/>
                    <a:pt x="234" y="9"/>
                  </a:cubicBezTo>
                  <a:cubicBezTo>
                    <a:pt x="134" y="137"/>
                    <a:pt x="134" y="137"/>
                    <a:pt x="134" y="137"/>
                  </a:cubicBezTo>
                  <a:cubicBezTo>
                    <a:pt x="242" y="271"/>
                    <a:pt x="242" y="271"/>
                    <a:pt x="242" y="271"/>
                  </a:cubicBezTo>
                  <a:cubicBezTo>
                    <a:pt x="242" y="272"/>
                    <a:pt x="243" y="273"/>
                    <a:pt x="243"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4" name="Freeform 33"/>
            <p:cNvSpPr>
              <a:spLocks noEditPoints="1"/>
            </p:cNvSpPr>
            <p:nvPr/>
          </p:nvSpPr>
          <p:spPr bwMode="auto">
            <a:xfrm>
              <a:off x="5903913" y="3248025"/>
              <a:ext cx="390525" cy="422275"/>
            </a:xfrm>
            <a:custGeom>
              <a:avLst/>
              <a:gdLst/>
              <a:ahLst/>
              <a:cxnLst>
                <a:cxn ang="0">
                  <a:pos x="97" y="209"/>
                </a:cxn>
                <a:cxn ang="0">
                  <a:pos x="0" y="104"/>
                </a:cxn>
                <a:cxn ang="0">
                  <a:pos x="97" y="0"/>
                </a:cxn>
                <a:cxn ang="0">
                  <a:pos x="193" y="104"/>
                </a:cxn>
                <a:cxn ang="0">
                  <a:pos x="97" y="209"/>
                </a:cxn>
                <a:cxn ang="0">
                  <a:pos x="97" y="39"/>
                </a:cxn>
                <a:cxn ang="0">
                  <a:pos x="60" y="104"/>
                </a:cxn>
                <a:cxn ang="0">
                  <a:pos x="97" y="169"/>
                </a:cxn>
                <a:cxn ang="0">
                  <a:pos x="133" y="104"/>
                </a:cxn>
                <a:cxn ang="0">
                  <a:pos x="97" y="39"/>
                </a:cxn>
              </a:cxnLst>
              <a:rect l="0" t="0" r="r" b="b"/>
              <a:pathLst>
                <a:path w="193" h="209">
                  <a:moveTo>
                    <a:pt x="97" y="209"/>
                  </a:moveTo>
                  <a:cubicBezTo>
                    <a:pt x="11" y="209"/>
                    <a:pt x="0" y="163"/>
                    <a:pt x="0" y="104"/>
                  </a:cubicBezTo>
                  <a:cubicBezTo>
                    <a:pt x="0" y="46"/>
                    <a:pt x="11" y="0"/>
                    <a:pt x="97" y="0"/>
                  </a:cubicBezTo>
                  <a:cubicBezTo>
                    <a:pt x="182" y="0"/>
                    <a:pt x="193" y="46"/>
                    <a:pt x="193" y="104"/>
                  </a:cubicBezTo>
                  <a:cubicBezTo>
                    <a:pt x="193" y="163"/>
                    <a:pt x="182" y="209"/>
                    <a:pt x="97" y="209"/>
                  </a:cubicBezTo>
                  <a:close/>
                  <a:moveTo>
                    <a:pt x="97" y="39"/>
                  </a:moveTo>
                  <a:cubicBezTo>
                    <a:pt x="61" y="39"/>
                    <a:pt x="60" y="60"/>
                    <a:pt x="60" y="104"/>
                  </a:cubicBezTo>
                  <a:cubicBezTo>
                    <a:pt x="60" y="149"/>
                    <a:pt x="61" y="169"/>
                    <a:pt x="97" y="169"/>
                  </a:cubicBezTo>
                  <a:cubicBezTo>
                    <a:pt x="132" y="169"/>
                    <a:pt x="133" y="149"/>
                    <a:pt x="133" y="104"/>
                  </a:cubicBezTo>
                  <a:cubicBezTo>
                    <a:pt x="133" y="60"/>
                    <a:pt x="132" y="39"/>
                    <a:pt x="97"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5" name="Freeform 34"/>
            <p:cNvSpPr>
              <a:spLocks/>
            </p:cNvSpPr>
            <p:nvPr/>
          </p:nvSpPr>
          <p:spPr bwMode="auto">
            <a:xfrm>
              <a:off x="6359525" y="3248025"/>
              <a:ext cx="366713" cy="412750"/>
            </a:xfrm>
            <a:custGeom>
              <a:avLst/>
              <a:gdLst/>
              <a:ahLst/>
              <a:cxnLst>
                <a:cxn ang="0">
                  <a:pos x="175" y="204"/>
                </a:cxn>
                <a:cxn ang="0">
                  <a:pos x="129" y="204"/>
                </a:cxn>
                <a:cxn ang="0">
                  <a:pos x="122" y="198"/>
                </a:cxn>
                <a:cxn ang="0">
                  <a:pos x="122" y="67"/>
                </a:cxn>
                <a:cxn ang="0">
                  <a:pos x="96" y="39"/>
                </a:cxn>
                <a:cxn ang="0">
                  <a:pos x="58" y="44"/>
                </a:cxn>
                <a:cxn ang="0">
                  <a:pos x="58" y="198"/>
                </a:cxn>
                <a:cxn ang="0">
                  <a:pos x="52" y="204"/>
                </a:cxn>
                <a:cxn ang="0">
                  <a:pos x="6" y="204"/>
                </a:cxn>
                <a:cxn ang="0">
                  <a:pos x="0" y="198"/>
                </a:cxn>
                <a:cxn ang="0">
                  <a:pos x="0" y="33"/>
                </a:cxn>
                <a:cxn ang="0">
                  <a:pos x="31" y="9"/>
                </a:cxn>
                <a:cxn ang="0">
                  <a:pos x="104" y="0"/>
                </a:cxn>
                <a:cxn ang="0">
                  <a:pos x="181" y="59"/>
                </a:cxn>
                <a:cxn ang="0">
                  <a:pos x="181" y="198"/>
                </a:cxn>
                <a:cxn ang="0">
                  <a:pos x="175" y="204"/>
                </a:cxn>
              </a:cxnLst>
              <a:rect l="0" t="0" r="r" b="b"/>
              <a:pathLst>
                <a:path w="181" h="204">
                  <a:moveTo>
                    <a:pt x="175" y="204"/>
                  </a:moveTo>
                  <a:cubicBezTo>
                    <a:pt x="129" y="204"/>
                    <a:pt x="129" y="204"/>
                    <a:pt x="129" y="204"/>
                  </a:cubicBezTo>
                  <a:cubicBezTo>
                    <a:pt x="125" y="204"/>
                    <a:pt x="122" y="202"/>
                    <a:pt x="122" y="198"/>
                  </a:cubicBezTo>
                  <a:cubicBezTo>
                    <a:pt x="122" y="67"/>
                    <a:pt x="122" y="67"/>
                    <a:pt x="122" y="67"/>
                  </a:cubicBezTo>
                  <a:cubicBezTo>
                    <a:pt x="122" y="46"/>
                    <a:pt x="114" y="39"/>
                    <a:pt x="96" y="39"/>
                  </a:cubicBezTo>
                  <a:cubicBezTo>
                    <a:pt x="78" y="39"/>
                    <a:pt x="58" y="44"/>
                    <a:pt x="58" y="44"/>
                  </a:cubicBezTo>
                  <a:cubicBezTo>
                    <a:pt x="58" y="198"/>
                    <a:pt x="58" y="198"/>
                    <a:pt x="58" y="198"/>
                  </a:cubicBezTo>
                  <a:cubicBezTo>
                    <a:pt x="58" y="202"/>
                    <a:pt x="56" y="204"/>
                    <a:pt x="52" y="204"/>
                  </a:cubicBezTo>
                  <a:cubicBezTo>
                    <a:pt x="6" y="204"/>
                    <a:pt x="6" y="204"/>
                    <a:pt x="6" y="204"/>
                  </a:cubicBezTo>
                  <a:cubicBezTo>
                    <a:pt x="2" y="204"/>
                    <a:pt x="0" y="202"/>
                    <a:pt x="0" y="198"/>
                  </a:cubicBezTo>
                  <a:cubicBezTo>
                    <a:pt x="0" y="33"/>
                    <a:pt x="0" y="33"/>
                    <a:pt x="0" y="33"/>
                  </a:cubicBezTo>
                  <a:cubicBezTo>
                    <a:pt x="0" y="18"/>
                    <a:pt x="9" y="14"/>
                    <a:pt x="31" y="9"/>
                  </a:cubicBezTo>
                  <a:cubicBezTo>
                    <a:pt x="50" y="4"/>
                    <a:pt x="80" y="0"/>
                    <a:pt x="104" y="0"/>
                  </a:cubicBezTo>
                  <a:cubicBezTo>
                    <a:pt x="152" y="0"/>
                    <a:pt x="181" y="11"/>
                    <a:pt x="181" y="59"/>
                  </a:cubicBezTo>
                  <a:cubicBezTo>
                    <a:pt x="181" y="198"/>
                    <a:pt x="181" y="198"/>
                    <a:pt x="181" y="198"/>
                  </a:cubicBezTo>
                  <a:cubicBezTo>
                    <a:pt x="181" y="202"/>
                    <a:pt x="178" y="204"/>
                    <a:pt x="175" y="2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6" name="Freeform 35"/>
            <p:cNvSpPr>
              <a:spLocks/>
            </p:cNvSpPr>
            <p:nvPr/>
          </p:nvSpPr>
          <p:spPr bwMode="auto">
            <a:xfrm>
              <a:off x="6804025" y="3122613"/>
              <a:ext cx="246063" cy="542925"/>
            </a:xfrm>
            <a:custGeom>
              <a:avLst/>
              <a:gdLst/>
              <a:ahLst/>
              <a:cxnLst>
                <a:cxn ang="0">
                  <a:pos x="121" y="256"/>
                </a:cxn>
                <a:cxn ang="0">
                  <a:pos x="116" y="262"/>
                </a:cxn>
                <a:cxn ang="0">
                  <a:pos x="68" y="269"/>
                </a:cxn>
                <a:cxn ang="0">
                  <a:pos x="0" y="207"/>
                </a:cxn>
                <a:cxn ang="0">
                  <a:pos x="0" y="16"/>
                </a:cxn>
                <a:cxn ang="0">
                  <a:pos x="7" y="7"/>
                </a:cxn>
                <a:cxn ang="0">
                  <a:pos x="50" y="0"/>
                </a:cxn>
                <a:cxn ang="0">
                  <a:pos x="52" y="0"/>
                </a:cxn>
                <a:cxn ang="0">
                  <a:pos x="58" y="6"/>
                </a:cxn>
                <a:cxn ang="0">
                  <a:pos x="58" y="67"/>
                </a:cxn>
                <a:cxn ang="0">
                  <a:pos x="109" y="67"/>
                </a:cxn>
                <a:cxn ang="0">
                  <a:pos x="115" y="72"/>
                </a:cxn>
                <a:cxn ang="0">
                  <a:pos x="115" y="103"/>
                </a:cxn>
                <a:cxn ang="0">
                  <a:pos x="109" y="108"/>
                </a:cxn>
                <a:cxn ang="0">
                  <a:pos x="58" y="108"/>
                </a:cxn>
                <a:cxn ang="0">
                  <a:pos x="58" y="204"/>
                </a:cxn>
                <a:cxn ang="0">
                  <a:pos x="83" y="228"/>
                </a:cxn>
                <a:cxn ang="0">
                  <a:pos x="110" y="225"/>
                </a:cxn>
                <a:cxn ang="0">
                  <a:pos x="111" y="225"/>
                </a:cxn>
                <a:cxn ang="0">
                  <a:pos x="116" y="229"/>
                </a:cxn>
                <a:cxn ang="0">
                  <a:pos x="121" y="253"/>
                </a:cxn>
                <a:cxn ang="0">
                  <a:pos x="121" y="256"/>
                </a:cxn>
              </a:cxnLst>
              <a:rect l="0" t="0" r="r" b="b"/>
              <a:pathLst>
                <a:path w="121" h="269">
                  <a:moveTo>
                    <a:pt x="121" y="256"/>
                  </a:moveTo>
                  <a:cubicBezTo>
                    <a:pt x="121" y="259"/>
                    <a:pt x="119" y="261"/>
                    <a:pt x="116" y="262"/>
                  </a:cubicBezTo>
                  <a:cubicBezTo>
                    <a:pt x="110" y="264"/>
                    <a:pt x="93" y="269"/>
                    <a:pt x="68" y="269"/>
                  </a:cubicBezTo>
                  <a:cubicBezTo>
                    <a:pt x="23" y="269"/>
                    <a:pt x="0" y="252"/>
                    <a:pt x="0" y="207"/>
                  </a:cubicBezTo>
                  <a:cubicBezTo>
                    <a:pt x="0" y="16"/>
                    <a:pt x="0" y="16"/>
                    <a:pt x="0" y="16"/>
                  </a:cubicBezTo>
                  <a:cubicBezTo>
                    <a:pt x="0" y="11"/>
                    <a:pt x="2" y="8"/>
                    <a:pt x="7" y="7"/>
                  </a:cubicBezTo>
                  <a:cubicBezTo>
                    <a:pt x="50" y="0"/>
                    <a:pt x="50" y="0"/>
                    <a:pt x="50" y="0"/>
                  </a:cubicBezTo>
                  <a:cubicBezTo>
                    <a:pt x="52" y="0"/>
                    <a:pt x="52" y="0"/>
                    <a:pt x="52" y="0"/>
                  </a:cubicBezTo>
                  <a:cubicBezTo>
                    <a:pt x="56" y="0"/>
                    <a:pt x="58" y="1"/>
                    <a:pt x="58" y="6"/>
                  </a:cubicBezTo>
                  <a:cubicBezTo>
                    <a:pt x="58" y="67"/>
                    <a:pt x="58" y="67"/>
                    <a:pt x="58" y="67"/>
                  </a:cubicBezTo>
                  <a:cubicBezTo>
                    <a:pt x="109" y="67"/>
                    <a:pt x="109" y="67"/>
                    <a:pt x="109" y="67"/>
                  </a:cubicBezTo>
                  <a:cubicBezTo>
                    <a:pt x="112" y="67"/>
                    <a:pt x="115" y="69"/>
                    <a:pt x="115" y="72"/>
                  </a:cubicBezTo>
                  <a:cubicBezTo>
                    <a:pt x="115" y="103"/>
                    <a:pt x="115" y="103"/>
                    <a:pt x="115" y="103"/>
                  </a:cubicBezTo>
                  <a:cubicBezTo>
                    <a:pt x="115" y="106"/>
                    <a:pt x="112" y="108"/>
                    <a:pt x="109" y="108"/>
                  </a:cubicBezTo>
                  <a:cubicBezTo>
                    <a:pt x="58" y="108"/>
                    <a:pt x="58" y="108"/>
                    <a:pt x="58" y="108"/>
                  </a:cubicBezTo>
                  <a:cubicBezTo>
                    <a:pt x="58" y="204"/>
                    <a:pt x="58" y="204"/>
                    <a:pt x="58" y="204"/>
                  </a:cubicBezTo>
                  <a:cubicBezTo>
                    <a:pt x="58" y="219"/>
                    <a:pt x="63" y="228"/>
                    <a:pt x="83" y="228"/>
                  </a:cubicBezTo>
                  <a:cubicBezTo>
                    <a:pt x="94" y="228"/>
                    <a:pt x="104" y="226"/>
                    <a:pt x="110" y="225"/>
                  </a:cubicBezTo>
                  <a:cubicBezTo>
                    <a:pt x="111" y="225"/>
                    <a:pt x="111" y="225"/>
                    <a:pt x="111" y="225"/>
                  </a:cubicBezTo>
                  <a:cubicBezTo>
                    <a:pt x="114" y="225"/>
                    <a:pt x="115" y="226"/>
                    <a:pt x="116" y="229"/>
                  </a:cubicBezTo>
                  <a:cubicBezTo>
                    <a:pt x="121" y="253"/>
                    <a:pt x="121" y="253"/>
                    <a:pt x="121" y="253"/>
                  </a:cubicBezTo>
                  <a:lnTo>
                    <a:pt x="121" y="2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7" name="Freeform 36"/>
            <p:cNvSpPr>
              <a:spLocks noEditPoints="1"/>
            </p:cNvSpPr>
            <p:nvPr/>
          </p:nvSpPr>
          <p:spPr bwMode="auto">
            <a:xfrm>
              <a:off x="7083425" y="3248025"/>
              <a:ext cx="384175" cy="422275"/>
            </a:xfrm>
            <a:custGeom>
              <a:avLst/>
              <a:gdLst/>
              <a:ahLst/>
              <a:cxnLst>
                <a:cxn ang="0">
                  <a:pos x="189" y="119"/>
                </a:cxn>
                <a:cxn ang="0">
                  <a:pos x="180" y="129"/>
                </a:cxn>
                <a:cxn ang="0">
                  <a:pos x="58" y="129"/>
                </a:cxn>
                <a:cxn ang="0">
                  <a:pos x="74" y="161"/>
                </a:cxn>
                <a:cxn ang="0">
                  <a:pos x="115" y="170"/>
                </a:cxn>
                <a:cxn ang="0">
                  <a:pos x="167" y="161"/>
                </a:cxn>
                <a:cxn ang="0">
                  <a:pos x="168" y="161"/>
                </a:cxn>
                <a:cxn ang="0">
                  <a:pos x="174" y="167"/>
                </a:cxn>
                <a:cxn ang="0">
                  <a:pos x="179" y="188"/>
                </a:cxn>
                <a:cxn ang="0">
                  <a:pos x="180" y="190"/>
                </a:cxn>
                <a:cxn ang="0">
                  <a:pos x="176" y="196"/>
                </a:cxn>
                <a:cxn ang="0">
                  <a:pos x="105" y="209"/>
                </a:cxn>
                <a:cxn ang="0">
                  <a:pos x="0" y="105"/>
                </a:cxn>
                <a:cxn ang="0">
                  <a:pos x="95" y="0"/>
                </a:cxn>
                <a:cxn ang="0">
                  <a:pos x="171" y="26"/>
                </a:cxn>
                <a:cxn ang="0">
                  <a:pos x="190" y="101"/>
                </a:cxn>
                <a:cxn ang="0">
                  <a:pos x="189" y="119"/>
                </a:cxn>
                <a:cxn ang="0">
                  <a:pos x="132" y="92"/>
                </a:cxn>
                <a:cxn ang="0">
                  <a:pos x="130" y="65"/>
                </a:cxn>
                <a:cxn ang="0">
                  <a:pos x="96" y="38"/>
                </a:cxn>
                <a:cxn ang="0">
                  <a:pos x="60" y="63"/>
                </a:cxn>
                <a:cxn ang="0">
                  <a:pos x="58" y="94"/>
                </a:cxn>
                <a:cxn ang="0">
                  <a:pos x="132" y="94"/>
                </a:cxn>
                <a:cxn ang="0">
                  <a:pos x="132" y="92"/>
                </a:cxn>
              </a:cxnLst>
              <a:rect l="0" t="0" r="r" b="b"/>
              <a:pathLst>
                <a:path w="190" h="209">
                  <a:moveTo>
                    <a:pt x="189" y="119"/>
                  </a:moveTo>
                  <a:cubicBezTo>
                    <a:pt x="189" y="124"/>
                    <a:pt x="187" y="129"/>
                    <a:pt x="180" y="129"/>
                  </a:cubicBezTo>
                  <a:cubicBezTo>
                    <a:pt x="58" y="129"/>
                    <a:pt x="58" y="129"/>
                    <a:pt x="58" y="129"/>
                  </a:cubicBezTo>
                  <a:cubicBezTo>
                    <a:pt x="58" y="145"/>
                    <a:pt x="63" y="154"/>
                    <a:pt x="74" y="161"/>
                  </a:cubicBezTo>
                  <a:cubicBezTo>
                    <a:pt x="83" y="167"/>
                    <a:pt x="96" y="170"/>
                    <a:pt x="115" y="170"/>
                  </a:cubicBezTo>
                  <a:cubicBezTo>
                    <a:pt x="138" y="170"/>
                    <a:pt x="157" y="164"/>
                    <a:pt x="167" y="161"/>
                  </a:cubicBezTo>
                  <a:cubicBezTo>
                    <a:pt x="168" y="161"/>
                    <a:pt x="168" y="161"/>
                    <a:pt x="168" y="161"/>
                  </a:cubicBezTo>
                  <a:cubicBezTo>
                    <a:pt x="171" y="161"/>
                    <a:pt x="173" y="163"/>
                    <a:pt x="174" y="167"/>
                  </a:cubicBezTo>
                  <a:cubicBezTo>
                    <a:pt x="179" y="188"/>
                    <a:pt x="179" y="188"/>
                    <a:pt x="179" y="188"/>
                  </a:cubicBezTo>
                  <a:cubicBezTo>
                    <a:pt x="180" y="189"/>
                    <a:pt x="180" y="189"/>
                    <a:pt x="180" y="190"/>
                  </a:cubicBezTo>
                  <a:cubicBezTo>
                    <a:pt x="180" y="193"/>
                    <a:pt x="178" y="195"/>
                    <a:pt x="176" y="196"/>
                  </a:cubicBezTo>
                  <a:cubicBezTo>
                    <a:pt x="164" y="201"/>
                    <a:pt x="137" y="209"/>
                    <a:pt x="105" y="209"/>
                  </a:cubicBezTo>
                  <a:cubicBezTo>
                    <a:pt x="31" y="209"/>
                    <a:pt x="0" y="182"/>
                    <a:pt x="0" y="105"/>
                  </a:cubicBezTo>
                  <a:cubicBezTo>
                    <a:pt x="0" y="31"/>
                    <a:pt x="22" y="0"/>
                    <a:pt x="95" y="0"/>
                  </a:cubicBezTo>
                  <a:cubicBezTo>
                    <a:pt x="133" y="0"/>
                    <a:pt x="156" y="9"/>
                    <a:pt x="171" y="26"/>
                  </a:cubicBezTo>
                  <a:cubicBezTo>
                    <a:pt x="185" y="43"/>
                    <a:pt x="190" y="68"/>
                    <a:pt x="190" y="101"/>
                  </a:cubicBezTo>
                  <a:cubicBezTo>
                    <a:pt x="190" y="106"/>
                    <a:pt x="189" y="114"/>
                    <a:pt x="189" y="119"/>
                  </a:cubicBezTo>
                  <a:close/>
                  <a:moveTo>
                    <a:pt x="132" y="92"/>
                  </a:moveTo>
                  <a:cubicBezTo>
                    <a:pt x="132" y="81"/>
                    <a:pt x="131" y="73"/>
                    <a:pt x="130" y="65"/>
                  </a:cubicBezTo>
                  <a:cubicBezTo>
                    <a:pt x="125" y="45"/>
                    <a:pt x="115" y="38"/>
                    <a:pt x="96" y="38"/>
                  </a:cubicBezTo>
                  <a:cubicBezTo>
                    <a:pt x="72" y="38"/>
                    <a:pt x="63" y="46"/>
                    <a:pt x="60" y="63"/>
                  </a:cubicBezTo>
                  <a:cubicBezTo>
                    <a:pt x="58" y="73"/>
                    <a:pt x="58" y="82"/>
                    <a:pt x="58" y="94"/>
                  </a:cubicBezTo>
                  <a:cubicBezTo>
                    <a:pt x="132" y="94"/>
                    <a:pt x="132" y="94"/>
                    <a:pt x="132" y="94"/>
                  </a:cubicBezTo>
                  <a:lnTo>
                    <a:pt x="132"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8" name="Freeform 37"/>
            <p:cNvSpPr>
              <a:spLocks/>
            </p:cNvSpPr>
            <p:nvPr/>
          </p:nvSpPr>
          <p:spPr bwMode="auto">
            <a:xfrm>
              <a:off x="7515225" y="3248025"/>
              <a:ext cx="230188" cy="412750"/>
            </a:xfrm>
            <a:custGeom>
              <a:avLst/>
              <a:gdLst/>
              <a:ahLst/>
              <a:cxnLst>
                <a:cxn ang="0">
                  <a:pos x="107" y="43"/>
                </a:cxn>
                <a:cxn ang="0">
                  <a:pos x="59" y="48"/>
                </a:cxn>
                <a:cxn ang="0">
                  <a:pos x="59" y="198"/>
                </a:cxn>
                <a:cxn ang="0">
                  <a:pos x="53" y="204"/>
                </a:cxn>
                <a:cxn ang="0">
                  <a:pos x="6" y="204"/>
                </a:cxn>
                <a:cxn ang="0">
                  <a:pos x="0" y="198"/>
                </a:cxn>
                <a:cxn ang="0">
                  <a:pos x="0" y="32"/>
                </a:cxn>
                <a:cxn ang="0">
                  <a:pos x="17" y="13"/>
                </a:cxn>
                <a:cxn ang="0">
                  <a:pos x="63" y="4"/>
                </a:cxn>
                <a:cxn ang="0">
                  <a:pos x="100" y="0"/>
                </a:cxn>
                <a:cxn ang="0">
                  <a:pos x="103" y="0"/>
                </a:cxn>
                <a:cxn ang="0">
                  <a:pos x="111" y="2"/>
                </a:cxn>
                <a:cxn ang="0">
                  <a:pos x="114" y="8"/>
                </a:cxn>
                <a:cxn ang="0">
                  <a:pos x="114" y="36"/>
                </a:cxn>
                <a:cxn ang="0">
                  <a:pos x="107" y="43"/>
                </a:cxn>
              </a:cxnLst>
              <a:rect l="0" t="0" r="r" b="b"/>
              <a:pathLst>
                <a:path w="114" h="204">
                  <a:moveTo>
                    <a:pt x="107" y="43"/>
                  </a:moveTo>
                  <a:cubicBezTo>
                    <a:pt x="85" y="43"/>
                    <a:pt x="65" y="46"/>
                    <a:pt x="59" y="48"/>
                  </a:cubicBezTo>
                  <a:cubicBezTo>
                    <a:pt x="59" y="198"/>
                    <a:pt x="59" y="198"/>
                    <a:pt x="59" y="198"/>
                  </a:cubicBezTo>
                  <a:cubicBezTo>
                    <a:pt x="59" y="202"/>
                    <a:pt x="56" y="204"/>
                    <a:pt x="53" y="204"/>
                  </a:cubicBezTo>
                  <a:cubicBezTo>
                    <a:pt x="6" y="204"/>
                    <a:pt x="6" y="204"/>
                    <a:pt x="6" y="204"/>
                  </a:cubicBezTo>
                  <a:cubicBezTo>
                    <a:pt x="4" y="204"/>
                    <a:pt x="0" y="202"/>
                    <a:pt x="0" y="198"/>
                  </a:cubicBezTo>
                  <a:cubicBezTo>
                    <a:pt x="0" y="32"/>
                    <a:pt x="0" y="32"/>
                    <a:pt x="0" y="32"/>
                  </a:cubicBezTo>
                  <a:cubicBezTo>
                    <a:pt x="0" y="21"/>
                    <a:pt x="6" y="17"/>
                    <a:pt x="17" y="13"/>
                  </a:cubicBezTo>
                  <a:cubicBezTo>
                    <a:pt x="29" y="9"/>
                    <a:pt x="47" y="6"/>
                    <a:pt x="63" y="4"/>
                  </a:cubicBezTo>
                  <a:cubicBezTo>
                    <a:pt x="74" y="2"/>
                    <a:pt x="87" y="1"/>
                    <a:pt x="100" y="0"/>
                  </a:cubicBezTo>
                  <a:cubicBezTo>
                    <a:pt x="103" y="0"/>
                    <a:pt x="103" y="0"/>
                    <a:pt x="103" y="0"/>
                  </a:cubicBezTo>
                  <a:cubicBezTo>
                    <a:pt x="108" y="0"/>
                    <a:pt x="109" y="1"/>
                    <a:pt x="111" y="2"/>
                  </a:cubicBezTo>
                  <a:cubicBezTo>
                    <a:pt x="112" y="3"/>
                    <a:pt x="114" y="5"/>
                    <a:pt x="114" y="8"/>
                  </a:cubicBezTo>
                  <a:cubicBezTo>
                    <a:pt x="114" y="36"/>
                    <a:pt x="114" y="36"/>
                    <a:pt x="114" y="36"/>
                  </a:cubicBezTo>
                  <a:cubicBezTo>
                    <a:pt x="114" y="40"/>
                    <a:pt x="113" y="43"/>
                    <a:pt x="107"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39" name="Freeform 38"/>
            <p:cNvSpPr>
              <a:spLocks noEditPoints="1"/>
            </p:cNvSpPr>
            <p:nvPr/>
          </p:nvSpPr>
          <p:spPr bwMode="auto">
            <a:xfrm>
              <a:off x="7767638" y="3248025"/>
              <a:ext cx="371475" cy="422275"/>
            </a:xfrm>
            <a:custGeom>
              <a:avLst/>
              <a:gdLst/>
              <a:ahLst/>
              <a:cxnLst>
                <a:cxn ang="0">
                  <a:pos x="147" y="204"/>
                </a:cxn>
                <a:cxn ang="0">
                  <a:pos x="93" y="209"/>
                </a:cxn>
                <a:cxn ang="0">
                  <a:pos x="0" y="144"/>
                </a:cxn>
                <a:cxn ang="0">
                  <a:pos x="59" y="85"/>
                </a:cxn>
                <a:cxn ang="0">
                  <a:pos x="125" y="74"/>
                </a:cxn>
                <a:cxn ang="0">
                  <a:pos x="125" y="64"/>
                </a:cxn>
                <a:cxn ang="0">
                  <a:pos x="116" y="43"/>
                </a:cxn>
                <a:cxn ang="0">
                  <a:pos x="89" y="40"/>
                </a:cxn>
                <a:cxn ang="0">
                  <a:pos x="25" y="50"/>
                </a:cxn>
                <a:cxn ang="0">
                  <a:pos x="23" y="51"/>
                </a:cxn>
                <a:cxn ang="0">
                  <a:pos x="19" y="47"/>
                </a:cxn>
                <a:cxn ang="0">
                  <a:pos x="13" y="21"/>
                </a:cxn>
                <a:cxn ang="0">
                  <a:pos x="13" y="19"/>
                </a:cxn>
                <a:cxn ang="0">
                  <a:pos x="17" y="13"/>
                </a:cxn>
                <a:cxn ang="0">
                  <a:pos x="102" y="0"/>
                </a:cxn>
                <a:cxn ang="0">
                  <a:pos x="159" y="11"/>
                </a:cxn>
                <a:cxn ang="0">
                  <a:pos x="184" y="60"/>
                </a:cxn>
                <a:cxn ang="0">
                  <a:pos x="184" y="164"/>
                </a:cxn>
                <a:cxn ang="0">
                  <a:pos x="147" y="204"/>
                </a:cxn>
                <a:cxn ang="0">
                  <a:pos x="126" y="109"/>
                </a:cxn>
                <a:cxn ang="0">
                  <a:pos x="85" y="116"/>
                </a:cxn>
                <a:cxn ang="0">
                  <a:pos x="58" y="143"/>
                </a:cxn>
                <a:cxn ang="0">
                  <a:pos x="94" y="172"/>
                </a:cxn>
                <a:cxn ang="0">
                  <a:pos x="126" y="168"/>
                </a:cxn>
                <a:cxn ang="0">
                  <a:pos x="126" y="109"/>
                </a:cxn>
              </a:cxnLst>
              <a:rect l="0" t="0" r="r" b="b"/>
              <a:pathLst>
                <a:path w="184" h="209">
                  <a:moveTo>
                    <a:pt x="147" y="204"/>
                  </a:moveTo>
                  <a:cubicBezTo>
                    <a:pt x="133" y="207"/>
                    <a:pt x="115" y="209"/>
                    <a:pt x="93" y="209"/>
                  </a:cubicBezTo>
                  <a:cubicBezTo>
                    <a:pt x="49" y="209"/>
                    <a:pt x="0" y="203"/>
                    <a:pt x="0" y="144"/>
                  </a:cubicBezTo>
                  <a:cubicBezTo>
                    <a:pt x="0" y="95"/>
                    <a:pt x="31" y="89"/>
                    <a:pt x="59" y="85"/>
                  </a:cubicBezTo>
                  <a:cubicBezTo>
                    <a:pt x="125" y="74"/>
                    <a:pt x="125" y="74"/>
                    <a:pt x="125" y="74"/>
                  </a:cubicBezTo>
                  <a:cubicBezTo>
                    <a:pt x="125" y="64"/>
                    <a:pt x="125" y="64"/>
                    <a:pt x="125" y="64"/>
                  </a:cubicBezTo>
                  <a:cubicBezTo>
                    <a:pt x="125" y="54"/>
                    <a:pt x="124" y="47"/>
                    <a:pt x="116" y="43"/>
                  </a:cubicBezTo>
                  <a:cubicBezTo>
                    <a:pt x="111" y="41"/>
                    <a:pt x="102" y="40"/>
                    <a:pt x="89" y="40"/>
                  </a:cubicBezTo>
                  <a:cubicBezTo>
                    <a:pt x="65" y="40"/>
                    <a:pt x="36" y="48"/>
                    <a:pt x="25" y="50"/>
                  </a:cubicBezTo>
                  <a:cubicBezTo>
                    <a:pt x="25" y="50"/>
                    <a:pt x="24" y="51"/>
                    <a:pt x="23" y="51"/>
                  </a:cubicBezTo>
                  <a:cubicBezTo>
                    <a:pt x="21" y="51"/>
                    <a:pt x="19" y="49"/>
                    <a:pt x="19" y="47"/>
                  </a:cubicBezTo>
                  <a:cubicBezTo>
                    <a:pt x="13" y="21"/>
                    <a:pt x="13" y="21"/>
                    <a:pt x="13" y="21"/>
                  </a:cubicBezTo>
                  <a:cubicBezTo>
                    <a:pt x="13" y="20"/>
                    <a:pt x="13" y="20"/>
                    <a:pt x="13" y="19"/>
                  </a:cubicBezTo>
                  <a:cubicBezTo>
                    <a:pt x="13" y="16"/>
                    <a:pt x="15" y="14"/>
                    <a:pt x="17" y="13"/>
                  </a:cubicBezTo>
                  <a:cubicBezTo>
                    <a:pt x="25" y="10"/>
                    <a:pt x="61" y="0"/>
                    <a:pt x="102" y="0"/>
                  </a:cubicBezTo>
                  <a:cubicBezTo>
                    <a:pt x="128" y="0"/>
                    <a:pt x="147" y="4"/>
                    <a:pt x="159" y="11"/>
                  </a:cubicBezTo>
                  <a:cubicBezTo>
                    <a:pt x="178" y="21"/>
                    <a:pt x="184" y="38"/>
                    <a:pt x="184" y="60"/>
                  </a:cubicBezTo>
                  <a:cubicBezTo>
                    <a:pt x="184" y="164"/>
                    <a:pt x="184" y="164"/>
                    <a:pt x="184" y="164"/>
                  </a:cubicBezTo>
                  <a:cubicBezTo>
                    <a:pt x="184" y="193"/>
                    <a:pt x="173" y="198"/>
                    <a:pt x="147" y="204"/>
                  </a:cubicBezTo>
                  <a:close/>
                  <a:moveTo>
                    <a:pt x="126" y="109"/>
                  </a:moveTo>
                  <a:cubicBezTo>
                    <a:pt x="85" y="116"/>
                    <a:pt x="85" y="116"/>
                    <a:pt x="85" y="116"/>
                  </a:cubicBezTo>
                  <a:cubicBezTo>
                    <a:pt x="71" y="118"/>
                    <a:pt x="58" y="120"/>
                    <a:pt x="58" y="143"/>
                  </a:cubicBezTo>
                  <a:cubicBezTo>
                    <a:pt x="58" y="170"/>
                    <a:pt x="79" y="172"/>
                    <a:pt x="94" y="172"/>
                  </a:cubicBezTo>
                  <a:cubicBezTo>
                    <a:pt x="108" y="172"/>
                    <a:pt x="121" y="169"/>
                    <a:pt x="126" y="168"/>
                  </a:cubicBezTo>
                  <a:lnTo>
                    <a:pt x="126" y="10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sp>
          <p:nvSpPr>
            <p:cNvPr id="40" name="Freeform 39"/>
            <p:cNvSpPr>
              <a:spLocks noEditPoints="1"/>
            </p:cNvSpPr>
            <p:nvPr/>
          </p:nvSpPr>
          <p:spPr bwMode="auto">
            <a:xfrm>
              <a:off x="4910138" y="2455863"/>
              <a:ext cx="1085850" cy="919162"/>
            </a:xfrm>
            <a:custGeom>
              <a:avLst/>
              <a:gdLst/>
              <a:ahLst/>
              <a:cxnLst>
                <a:cxn ang="0">
                  <a:pos x="470" y="238"/>
                </a:cxn>
                <a:cxn ang="0">
                  <a:pos x="497" y="67"/>
                </a:cxn>
                <a:cxn ang="0">
                  <a:pos x="326" y="39"/>
                </a:cxn>
                <a:cxn ang="0">
                  <a:pos x="220" y="250"/>
                </a:cxn>
                <a:cxn ang="0">
                  <a:pos x="50" y="276"/>
                </a:cxn>
                <a:cxn ang="0">
                  <a:pos x="29" y="404"/>
                </a:cxn>
                <a:cxn ang="0">
                  <a:pos x="158" y="425"/>
                </a:cxn>
                <a:cxn ang="0">
                  <a:pos x="235" y="272"/>
                </a:cxn>
                <a:cxn ang="0">
                  <a:pos x="470" y="238"/>
                </a:cxn>
                <a:cxn ang="0">
                  <a:pos x="295" y="137"/>
                </a:cxn>
                <a:cxn ang="0">
                  <a:pos x="381" y="151"/>
                </a:cxn>
                <a:cxn ang="0">
                  <a:pos x="367" y="237"/>
                </a:cxn>
                <a:cxn ang="0">
                  <a:pos x="242" y="254"/>
                </a:cxn>
                <a:cxn ang="0">
                  <a:pos x="238" y="254"/>
                </a:cxn>
                <a:cxn ang="0">
                  <a:pos x="239" y="250"/>
                </a:cxn>
                <a:cxn ang="0">
                  <a:pos x="295" y="137"/>
                </a:cxn>
                <a:cxn ang="0">
                  <a:pos x="175" y="356"/>
                </a:cxn>
                <a:cxn ang="0">
                  <a:pos x="110" y="346"/>
                </a:cxn>
                <a:cxn ang="0">
                  <a:pos x="121" y="281"/>
                </a:cxn>
                <a:cxn ang="0">
                  <a:pos x="214" y="268"/>
                </a:cxn>
                <a:cxn ang="0">
                  <a:pos x="218" y="268"/>
                </a:cxn>
                <a:cxn ang="0">
                  <a:pos x="217" y="272"/>
                </a:cxn>
                <a:cxn ang="0">
                  <a:pos x="175" y="356"/>
                </a:cxn>
              </a:cxnLst>
              <a:rect l="0" t="0" r="r" b="b"/>
              <a:pathLst>
                <a:path w="537" h="455">
                  <a:moveTo>
                    <a:pt x="470" y="238"/>
                  </a:moveTo>
                  <a:cubicBezTo>
                    <a:pt x="524" y="198"/>
                    <a:pt x="537" y="122"/>
                    <a:pt x="497" y="67"/>
                  </a:cubicBezTo>
                  <a:cubicBezTo>
                    <a:pt x="458" y="12"/>
                    <a:pt x="381" y="0"/>
                    <a:pt x="326" y="39"/>
                  </a:cubicBezTo>
                  <a:cubicBezTo>
                    <a:pt x="283" y="71"/>
                    <a:pt x="237" y="199"/>
                    <a:pt x="220" y="250"/>
                  </a:cubicBezTo>
                  <a:cubicBezTo>
                    <a:pt x="176" y="251"/>
                    <a:pt x="81" y="253"/>
                    <a:pt x="50" y="276"/>
                  </a:cubicBezTo>
                  <a:cubicBezTo>
                    <a:pt x="9" y="306"/>
                    <a:pt x="0" y="363"/>
                    <a:pt x="29" y="404"/>
                  </a:cubicBezTo>
                  <a:cubicBezTo>
                    <a:pt x="59" y="445"/>
                    <a:pt x="116" y="455"/>
                    <a:pt x="158" y="425"/>
                  </a:cubicBezTo>
                  <a:cubicBezTo>
                    <a:pt x="189" y="402"/>
                    <a:pt x="222" y="313"/>
                    <a:pt x="235" y="272"/>
                  </a:cubicBezTo>
                  <a:cubicBezTo>
                    <a:pt x="289" y="272"/>
                    <a:pt x="426" y="269"/>
                    <a:pt x="470" y="238"/>
                  </a:cubicBezTo>
                  <a:close/>
                  <a:moveTo>
                    <a:pt x="295" y="137"/>
                  </a:moveTo>
                  <a:cubicBezTo>
                    <a:pt x="322" y="117"/>
                    <a:pt x="361" y="123"/>
                    <a:pt x="381" y="151"/>
                  </a:cubicBezTo>
                  <a:cubicBezTo>
                    <a:pt x="401" y="178"/>
                    <a:pt x="395" y="217"/>
                    <a:pt x="367" y="237"/>
                  </a:cubicBezTo>
                  <a:cubicBezTo>
                    <a:pt x="343" y="255"/>
                    <a:pt x="261" y="254"/>
                    <a:pt x="242" y="254"/>
                  </a:cubicBezTo>
                  <a:cubicBezTo>
                    <a:pt x="239" y="254"/>
                    <a:pt x="238" y="254"/>
                    <a:pt x="238" y="254"/>
                  </a:cubicBezTo>
                  <a:cubicBezTo>
                    <a:pt x="238" y="254"/>
                    <a:pt x="238" y="253"/>
                    <a:pt x="239" y="250"/>
                  </a:cubicBezTo>
                  <a:cubicBezTo>
                    <a:pt x="245" y="232"/>
                    <a:pt x="270" y="154"/>
                    <a:pt x="295" y="137"/>
                  </a:cubicBezTo>
                  <a:close/>
                  <a:moveTo>
                    <a:pt x="175" y="356"/>
                  </a:moveTo>
                  <a:cubicBezTo>
                    <a:pt x="154" y="371"/>
                    <a:pt x="125" y="367"/>
                    <a:pt x="110" y="346"/>
                  </a:cubicBezTo>
                  <a:cubicBezTo>
                    <a:pt x="95" y="325"/>
                    <a:pt x="100" y="296"/>
                    <a:pt x="121" y="281"/>
                  </a:cubicBezTo>
                  <a:cubicBezTo>
                    <a:pt x="139" y="268"/>
                    <a:pt x="198" y="268"/>
                    <a:pt x="214" y="268"/>
                  </a:cubicBezTo>
                  <a:cubicBezTo>
                    <a:pt x="216" y="268"/>
                    <a:pt x="218" y="268"/>
                    <a:pt x="218" y="268"/>
                  </a:cubicBezTo>
                  <a:cubicBezTo>
                    <a:pt x="218" y="268"/>
                    <a:pt x="218" y="270"/>
                    <a:pt x="217" y="272"/>
                  </a:cubicBezTo>
                  <a:cubicBezTo>
                    <a:pt x="212" y="288"/>
                    <a:pt x="193" y="343"/>
                    <a:pt x="175" y="3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a:solidFill>
                  <a:srgbClr val="009999"/>
                </a:solidFill>
              </a:endParaRPr>
            </a:p>
          </p:txBody>
        </p:sp>
      </p:grpSp>
    </p:spTree>
    <p:extLst>
      <p:ext uri="{BB962C8B-B14F-4D97-AF65-F5344CB8AC3E}">
        <p14:creationId xmlns:p14="http://schemas.microsoft.com/office/powerpoint/2010/main" val="967669025"/>
      </p:ext>
    </p:extLst>
  </p:cSld>
  <p:clrMapOvr>
    <a:masterClrMapping/>
  </p:clrMapOvr>
  <p:transition xmlns:p14="http://schemas.microsoft.com/office/powerpoint/2010/mai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lvl1pPr>
              <a:defRPr sz="2400">
                <a:solidFill>
                  <a:srgbClr val="009999"/>
                </a:solidFill>
              </a:defRPr>
            </a:lvl1pPr>
          </a:lstStyle>
          <a:p>
            <a:r>
              <a:rPr lang="en-US"/>
              <a:t>Click to edit Master title style</a:t>
            </a:r>
            <a:endParaRPr lang="en-US" dirty="0"/>
          </a:p>
        </p:txBody>
      </p:sp>
      <p:sp>
        <p:nvSpPr>
          <p:cNvPr id="12" name="Text Placeholder 11"/>
          <p:cNvSpPr>
            <a:spLocks noGrp="1"/>
          </p:cNvSpPr>
          <p:nvPr>
            <p:ph type="body" sz="quarter" idx="21"/>
          </p:nvPr>
        </p:nvSpPr>
        <p:spPr>
          <a:xfrm>
            <a:off x="322729" y="544116"/>
            <a:ext cx="8563512" cy="470297"/>
          </a:xfrm>
        </p:spPr>
        <p:txBody>
          <a:bodyPr>
            <a:normAutofit/>
          </a:bodyPr>
          <a:lstStyle>
            <a:lvl1pPr>
              <a:defRPr sz="1500" cap="all" baseline="0">
                <a:solidFill>
                  <a:schemeClr val="accent6"/>
                </a:solidFill>
              </a:defRPr>
            </a:lvl1pPr>
          </a:lstStyle>
          <a:p>
            <a:pPr lvl="0"/>
            <a:r>
              <a:rPr lang="en-US"/>
              <a:t>Click to edit Master text styles</a:t>
            </a:r>
          </a:p>
        </p:txBody>
      </p:sp>
    </p:spTree>
    <p:extLst>
      <p:ext uri="{BB962C8B-B14F-4D97-AF65-F5344CB8AC3E}">
        <p14:creationId xmlns:p14="http://schemas.microsoft.com/office/powerpoint/2010/main" val="20926917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4"/>
            <a:ext cx="8238066"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20367735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824344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8238066"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17645299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3" name="Text Placeholder 2"/>
          <p:cNvSpPr>
            <a:spLocks noGrp="1"/>
          </p:cNvSpPr>
          <p:nvPr>
            <p:ph type="body" sz="quarter" idx="17"/>
          </p:nvPr>
        </p:nvSpPr>
        <p:spPr>
          <a:xfrm>
            <a:off x="4425292"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4" name="Content Placeholder 18"/>
          <p:cNvSpPr>
            <a:spLocks noGrp="1"/>
          </p:cNvSpPr>
          <p:nvPr>
            <p:ph sz="quarter" idx="18"/>
          </p:nvPr>
        </p:nvSpPr>
        <p:spPr>
          <a:xfrm>
            <a:off x="4428065"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6772932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umn + Big Imag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4" name="Content Placeholder 18"/>
          <p:cNvSpPr>
            <a:spLocks noGrp="1"/>
          </p:cNvSpPr>
          <p:nvPr>
            <p:ph sz="quarter" idx="18"/>
          </p:nvPr>
        </p:nvSpPr>
        <p:spPr>
          <a:xfrm>
            <a:off x="4428065" y="1490133"/>
            <a:ext cx="4326468"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730" y="0"/>
            <a:ext cx="685800" cy="686435"/>
          </a:xfrm>
          <a:prstGeom prst="rect">
            <a:avLst/>
          </a:prstGeom>
        </p:spPr>
      </p:pic>
    </p:spTree>
    <p:extLst>
      <p:ext uri="{BB962C8B-B14F-4D97-AF65-F5344CB8AC3E}">
        <p14:creationId xmlns:p14="http://schemas.microsoft.com/office/powerpoint/2010/main" val="913698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493878"/>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31951"/>
            <a:ext cx="8540496" cy="246855"/>
          </a:xfrm>
          <a:prstGeom prst="rect">
            <a:avLst/>
          </a:prstGeom>
          <a:ln w="76200" cmpd="sng">
            <a:noFill/>
          </a:ln>
          <a:effectLst/>
        </p:spPr>
        <p:txBody>
          <a:bodyPr vert="horz" wrap="square" lIns="91440" tIns="0" rIns="0" bIns="0" rtlCol="0" anchor="b">
            <a:spAutoFit/>
          </a:bodyPr>
          <a:lstStyle>
            <a:lvl1pPr marL="342900" indent="-342900"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57875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4"/>
            <a:ext cx="8238066"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30611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ubhead">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824344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8238066"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67985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3" name="Text Placeholder 2"/>
          <p:cNvSpPr>
            <a:spLocks noGrp="1"/>
          </p:cNvSpPr>
          <p:nvPr>
            <p:ph type="body" sz="quarter" idx="17"/>
          </p:nvPr>
        </p:nvSpPr>
        <p:spPr>
          <a:xfrm>
            <a:off x="4425292"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4" name="Content Placeholder 18"/>
          <p:cNvSpPr>
            <a:spLocks noGrp="1"/>
          </p:cNvSpPr>
          <p:nvPr>
            <p:ph sz="quarter" idx="18"/>
          </p:nvPr>
        </p:nvSpPr>
        <p:spPr>
          <a:xfrm>
            <a:off x="4428065"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29836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umn + Big Imag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10" name="Text Placeholder 2"/>
          <p:cNvSpPr>
            <a:spLocks noGrp="1"/>
          </p:cNvSpPr>
          <p:nvPr>
            <p:ph type="body" sz="quarter" idx="12"/>
          </p:nvPr>
        </p:nvSpPr>
        <p:spPr>
          <a:xfrm>
            <a:off x="208894" y="1490134"/>
            <a:ext cx="4024291" cy="355600"/>
          </a:xfrm>
          <a:prstGeom prst="rect">
            <a:avLst/>
          </a:prstGeom>
        </p:spPr>
        <p:txBody>
          <a:bodyPr vert="horz"/>
          <a:lstStyle>
            <a:lvl1pPr marL="0" indent="0">
              <a:spcBef>
                <a:spcPts val="0"/>
              </a:spcBef>
              <a:spcAft>
                <a:spcPts val="900"/>
              </a:spcAft>
              <a:buClr>
                <a:schemeClr val="accent1"/>
              </a:buClr>
              <a:buNone/>
              <a:defRPr sz="2000" b="1" spc="-40">
                <a:solidFill>
                  <a:schemeClr val="tx1">
                    <a:lumMod val="85000"/>
                    <a:lumOff val="15000"/>
                  </a:schemeClr>
                </a:solidFill>
                <a:latin typeface="Arial"/>
                <a:cs typeface="Arial"/>
              </a:defRPr>
            </a:lvl1pPr>
            <a:lvl2pPr marL="365760" indent="-274320">
              <a:spcBef>
                <a:spcPts val="0"/>
              </a:spcBef>
              <a:spcAft>
                <a:spcPts val="900"/>
              </a:spcAft>
              <a:buClr>
                <a:schemeClr val="accent1"/>
              </a:buClr>
              <a:defRPr sz="1600" spc="-30">
                <a:solidFill>
                  <a:schemeClr val="tx1">
                    <a:lumMod val="85000"/>
                    <a:lumOff val="15000"/>
                  </a:schemeClr>
                </a:solidFill>
                <a:latin typeface="Arial"/>
                <a:cs typeface="Arial"/>
              </a:defRPr>
            </a:lvl2pPr>
            <a:lvl3pPr marL="548640" indent="-182880">
              <a:spcBef>
                <a:spcPts val="0"/>
              </a:spcBef>
              <a:spcAft>
                <a:spcPts val="900"/>
              </a:spcAft>
              <a:buClr>
                <a:schemeClr val="accent1"/>
              </a:buClr>
              <a:defRPr sz="1600" spc="-30">
                <a:solidFill>
                  <a:schemeClr val="tx1">
                    <a:lumMod val="85000"/>
                    <a:lumOff val="15000"/>
                  </a:schemeClr>
                </a:solidFill>
                <a:latin typeface="Arial"/>
                <a:cs typeface="Arial"/>
              </a:defRPr>
            </a:lvl3pPr>
            <a:lvl4pPr marL="91440" indent="182880">
              <a:buClr>
                <a:schemeClr val="accent1"/>
              </a:buClr>
              <a:defRPr sz="1200">
                <a:solidFill>
                  <a:schemeClr val="tx1">
                    <a:lumMod val="75000"/>
                    <a:lumOff val="25000"/>
                  </a:schemeClr>
                </a:solidFill>
                <a:latin typeface="Arial"/>
                <a:cs typeface="Arial"/>
              </a:defRPr>
            </a:lvl4pPr>
            <a:lvl5pPr marL="91440" indent="182880">
              <a:buClr>
                <a:schemeClr val="accent1"/>
              </a:buClr>
              <a:defRPr sz="1200">
                <a:solidFill>
                  <a:schemeClr val="tx1">
                    <a:lumMod val="75000"/>
                    <a:lumOff val="25000"/>
                  </a:schemeClr>
                </a:solidFill>
                <a:latin typeface="Arial"/>
                <a:cs typeface="Arial"/>
              </a:defRPr>
            </a:lvl5pPr>
          </a:lstStyle>
          <a:p>
            <a:pPr lvl="0"/>
            <a:r>
              <a:rPr lang="en-US"/>
              <a:t>Click to edit Master text styles</a:t>
            </a:r>
          </a:p>
        </p:txBody>
      </p:sp>
      <p:sp>
        <p:nvSpPr>
          <p:cNvPr id="20" name="Content Placeholder 18"/>
          <p:cNvSpPr>
            <a:spLocks noGrp="1"/>
          </p:cNvSpPr>
          <p:nvPr>
            <p:ph sz="quarter" idx="16"/>
          </p:nvPr>
        </p:nvSpPr>
        <p:spPr>
          <a:xfrm>
            <a:off x="211667" y="1938866"/>
            <a:ext cx="4021667" cy="2954867"/>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
        <p:nvSpPr>
          <p:cNvPr id="24" name="Content Placeholder 18"/>
          <p:cNvSpPr>
            <a:spLocks noGrp="1"/>
          </p:cNvSpPr>
          <p:nvPr>
            <p:ph sz="quarter" idx="18"/>
          </p:nvPr>
        </p:nvSpPr>
        <p:spPr>
          <a:xfrm>
            <a:off x="4428065" y="1490133"/>
            <a:ext cx="4326468"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913875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lack">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097" y="2112026"/>
            <a:ext cx="6074264" cy="1190424"/>
          </a:xfrm>
          <a:prstGeom prst="rect">
            <a:avLst/>
          </a:prstGeom>
        </p:spPr>
        <p:txBody>
          <a:bodyPr anchor="ctr"/>
          <a:lstStyle>
            <a:lvl1pPr marL="0" indent="0" algn="l">
              <a:lnSpc>
                <a:spcPct val="85000"/>
              </a:lnSpc>
              <a:buFont typeface="Arial" charset="0"/>
              <a:buNone/>
              <a:defRPr sz="4496" b="1" i="0" kern="3500" spc="-150" baseline="0">
                <a:solidFill>
                  <a:schemeClr val="bg2"/>
                </a:solidFill>
                <a:latin typeface="Arial Bold" charset="0"/>
                <a:ea typeface="Arial Bold" charset="0"/>
                <a:cs typeface="Arial Bold" charset="0"/>
              </a:defRPr>
            </a:lvl1pPr>
          </a:lstStyle>
          <a:p>
            <a:r>
              <a:rPr lang="en-US" dirty="0"/>
              <a:t>Presentation</a:t>
            </a:r>
            <a:br>
              <a:rPr lang="en-US" dirty="0"/>
            </a:br>
            <a:r>
              <a:rPr lang="en-US" dirty="0"/>
              <a:t>Title</a:t>
            </a:r>
          </a:p>
        </p:txBody>
      </p:sp>
      <p:sp>
        <p:nvSpPr>
          <p:cNvPr id="11" name="Text Placeholder 10"/>
          <p:cNvSpPr>
            <a:spLocks noGrp="1"/>
          </p:cNvSpPr>
          <p:nvPr>
            <p:ph type="body" sz="quarter" idx="10" hasCustomPrompt="1"/>
          </p:nvPr>
        </p:nvSpPr>
        <p:spPr>
          <a:xfrm>
            <a:off x="630709" y="3377070"/>
            <a:ext cx="6073754" cy="301323"/>
          </a:xfrm>
          <a:prstGeom prst="rect">
            <a:avLst/>
          </a:prstGeom>
        </p:spPr>
        <p:txBody>
          <a:bodyPr/>
          <a:lstStyle>
            <a:lvl1pPr marL="0" indent="0">
              <a:buNone/>
              <a:defRPr sz="1499" baseline="0">
                <a:solidFill>
                  <a:schemeClr val="bg2"/>
                </a:solidFill>
                <a:latin typeface="Arial" charset="0"/>
                <a:ea typeface="Arial" charset="0"/>
                <a:cs typeface="Arial" charset="0"/>
              </a:defRPr>
            </a:lvl1pPr>
            <a:lvl2pPr marL="342591" indent="0">
              <a:buNone/>
              <a:defRPr>
                <a:latin typeface="Arial" charset="0"/>
                <a:ea typeface="Arial" charset="0"/>
                <a:cs typeface="Arial" charset="0"/>
              </a:defRPr>
            </a:lvl2pPr>
            <a:lvl3pPr marL="685183" indent="0">
              <a:buNone/>
              <a:defRPr>
                <a:latin typeface="Arial" charset="0"/>
                <a:ea typeface="Arial" charset="0"/>
                <a:cs typeface="Arial" charset="0"/>
              </a:defRPr>
            </a:lvl3pPr>
            <a:lvl4pPr marL="1027774" indent="0">
              <a:buNone/>
              <a:defRPr>
                <a:latin typeface="Arial" charset="0"/>
                <a:ea typeface="Arial" charset="0"/>
                <a:cs typeface="Arial" charset="0"/>
              </a:defRPr>
            </a:lvl4pPr>
            <a:lvl5pPr marL="1370366" indent="0">
              <a:buNone/>
              <a:defRPr>
                <a:latin typeface="Arial" charset="0"/>
                <a:ea typeface="Arial" charset="0"/>
                <a:cs typeface="Arial" charset="0"/>
              </a:defRPr>
            </a:lvl5pPr>
          </a:lstStyle>
          <a:p>
            <a:pPr lvl="0"/>
            <a:r>
              <a:rPr lang="en-US" dirty="0"/>
              <a:t>Presenter Name &amp;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829" y="598286"/>
            <a:ext cx="1308559" cy="1308559"/>
          </a:xfrm>
          <a:prstGeom prst="rect">
            <a:avLst/>
          </a:prstGeom>
        </p:spPr>
      </p:pic>
    </p:spTree>
    <p:extLst>
      <p:ext uri="{BB962C8B-B14F-4D97-AF65-F5344CB8AC3E}">
        <p14:creationId xmlns:p14="http://schemas.microsoft.com/office/powerpoint/2010/main" val="4081869611"/>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 xmlns:p15="http://schemas.microsoft.com/office/powerpoint/2012/main">
        <p15:guide id="1" pos="44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White Gradient">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0"/>
            <a:ext cx="9144000" cy="5143500"/>
          </a:xfrm>
          <a:prstGeom prst="rect">
            <a:avLst/>
          </a:prstGeom>
          <a:gradFill flip="none" rotWithShape="1">
            <a:gsLst>
              <a:gs pos="55000">
                <a:srgbClr val="FFFFFF"/>
              </a:gs>
              <a:gs pos="100000">
                <a:srgbClr val="FFFFFF">
                  <a:lumMod val="85000"/>
                </a:srgbClr>
              </a:gs>
            </a:gsLst>
            <a:path path="circle">
              <a:fillToRect l="50000" t="50000" r="50000" b="50000"/>
            </a:path>
            <a:tileRect/>
          </a:gradFill>
          <a:ln w="6350" cap="flat" cmpd="sng" algn="ctr">
            <a:solidFill>
              <a:srgbClr val="E3E7ED"/>
            </a:solidFill>
            <a:prstDash val="solid"/>
            <a:miter lim="800000"/>
          </a:ln>
          <a:effectLst/>
        </p:spPr>
        <p:txBody>
          <a:bodyPr rtlCol="0" anchor="ctr"/>
          <a:lstStyle/>
          <a:p>
            <a:pPr marL="0" marR="0" lvl="0" indent="0" algn="ctr" defTabSz="913577"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3BB0C9"/>
              </a:solidFill>
              <a:effectLst/>
              <a:uLnTx/>
              <a:uFillTx/>
              <a:latin typeface="Arial"/>
              <a:ea typeface="+mn-ea"/>
              <a:cs typeface="+mn-cs"/>
            </a:endParaRPr>
          </a:p>
        </p:txBody>
      </p:sp>
      <p:sp>
        <p:nvSpPr>
          <p:cNvPr id="2" name="Title 1"/>
          <p:cNvSpPr>
            <a:spLocks noGrp="1"/>
          </p:cNvSpPr>
          <p:nvPr>
            <p:ph type="ctrTitle" hasCustomPrompt="1"/>
          </p:nvPr>
        </p:nvSpPr>
        <p:spPr>
          <a:xfrm>
            <a:off x="609097" y="2112026"/>
            <a:ext cx="6074264" cy="1190424"/>
          </a:xfrm>
          <a:prstGeom prst="rect">
            <a:avLst/>
          </a:prstGeom>
        </p:spPr>
        <p:txBody>
          <a:bodyPr anchor="ctr"/>
          <a:lstStyle>
            <a:lvl1pPr marL="0" indent="0" algn="l">
              <a:lnSpc>
                <a:spcPct val="85000"/>
              </a:lnSpc>
              <a:buFont typeface="Arial" charset="0"/>
              <a:buNone/>
              <a:defRPr sz="4496" b="1" i="0" kern="3500" spc="-150" baseline="0">
                <a:solidFill>
                  <a:schemeClr val="bg1"/>
                </a:solidFill>
                <a:latin typeface="Arial Bold" charset="0"/>
                <a:ea typeface="Arial Bold" charset="0"/>
                <a:cs typeface="Arial Bold" charset="0"/>
              </a:defRPr>
            </a:lvl1pPr>
          </a:lstStyle>
          <a:p>
            <a:r>
              <a:rPr lang="en-US" dirty="0"/>
              <a:t>Presentation</a:t>
            </a:r>
            <a:br>
              <a:rPr lang="en-US" dirty="0"/>
            </a:br>
            <a:r>
              <a:rPr lang="en-US" dirty="0"/>
              <a:t>Title</a:t>
            </a:r>
          </a:p>
        </p:txBody>
      </p:sp>
      <p:sp>
        <p:nvSpPr>
          <p:cNvPr id="11" name="Text Placeholder 10"/>
          <p:cNvSpPr>
            <a:spLocks noGrp="1"/>
          </p:cNvSpPr>
          <p:nvPr>
            <p:ph type="body" sz="quarter" idx="10" hasCustomPrompt="1"/>
          </p:nvPr>
        </p:nvSpPr>
        <p:spPr>
          <a:xfrm>
            <a:off x="630709" y="3377070"/>
            <a:ext cx="6073754" cy="301323"/>
          </a:xfrm>
          <a:prstGeom prst="rect">
            <a:avLst/>
          </a:prstGeom>
        </p:spPr>
        <p:txBody>
          <a:bodyPr/>
          <a:lstStyle>
            <a:lvl1pPr marL="0" indent="0">
              <a:buNone/>
              <a:defRPr sz="1499" baseline="0">
                <a:solidFill>
                  <a:schemeClr val="bg1"/>
                </a:solidFill>
                <a:latin typeface="Arial" charset="0"/>
                <a:ea typeface="Arial" charset="0"/>
                <a:cs typeface="Arial" charset="0"/>
              </a:defRPr>
            </a:lvl1pPr>
            <a:lvl2pPr marL="342591" indent="0">
              <a:buNone/>
              <a:defRPr>
                <a:latin typeface="Arial" charset="0"/>
                <a:ea typeface="Arial" charset="0"/>
                <a:cs typeface="Arial" charset="0"/>
              </a:defRPr>
            </a:lvl2pPr>
            <a:lvl3pPr marL="685183" indent="0">
              <a:buNone/>
              <a:defRPr>
                <a:latin typeface="Arial" charset="0"/>
                <a:ea typeface="Arial" charset="0"/>
                <a:cs typeface="Arial" charset="0"/>
              </a:defRPr>
            </a:lvl3pPr>
            <a:lvl4pPr marL="1027774" indent="0">
              <a:buNone/>
              <a:defRPr>
                <a:latin typeface="Arial" charset="0"/>
                <a:ea typeface="Arial" charset="0"/>
                <a:cs typeface="Arial" charset="0"/>
              </a:defRPr>
            </a:lvl4pPr>
            <a:lvl5pPr marL="1370366" indent="0">
              <a:buNone/>
              <a:defRPr>
                <a:latin typeface="Arial" charset="0"/>
                <a:ea typeface="Arial" charset="0"/>
                <a:cs typeface="Arial" charset="0"/>
              </a:defRPr>
            </a:lvl5pPr>
          </a:lstStyle>
          <a:p>
            <a:pPr lvl="0"/>
            <a:r>
              <a:rPr lang="en-US" dirty="0"/>
              <a:t>Presenter Name &amp;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829" y="598286"/>
            <a:ext cx="1308559" cy="1308559"/>
          </a:xfrm>
          <a:prstGeom prst="rect">
            <a:avLst/>
          </a:prstGeom>
        </p:spPr>
      </p:pic>
    </p:spTree>
    <p:extLst>
      <p:ext uri="{BB962C8B-B14F-4D97-AF65-F5344CB8AC3E}">
        <p14:creationId xmlns:p14="http://schemas.microsoft.com/office/powerpoint/2010/main" val="2704346126"/>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 xmlns:p15="http://schemas.microsoft.com/office/powerpoint/2012/main">
        <p15:guide id="1" pos="4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clusion">
    <p:bg>
      <p:bgRef idx="1001">
        <a:schemeClr val="bg1"/>
      </p:bgRef>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630709" y="3377070"/>
            <a:ext cx="6073754" cy="301323"/>
          </a:xfrm>
          <a:prstGeom prst="rect">
            <a:avLst/>
          </a:prstGeom>
        </p:spPr>
        <p:txBody>
          <a:bodyPr/>
          <a:lstStyle>
            <a:lvl1pPr marL="0" indent="0">
              <a:buNone/>
              <a:defRPr sz="1499" baseline="0">
                <a:solidFill>
                  <a:schemeClr val="bg2"/>
                </a:solidFill>
                <a:latin typeface="Arial" charset="0"/>
                <a:ea typeface="Arial" charset="0"/>
                <a:cs typeface="Arial" charset="0"/>
              </a:defRPr>
            </a:lvl1pPr>
            <a:lvl2pPr marL="342591" indent="0">
              <a:buNone/>
              <a:defRPr>
                <a:latin typeface="Arial" charset="0"/>
                <a:ea typeface="Arial" charset="0"/>
                <a:cs typeface="Arial" charset="0"/>
              </a:defRPr>
            </a:lvl2pPr>
            <a:lvl3pPr marL="685183" indent="0">
              <a:buNone/>
              <a:defRPr>
                <a:latin typeface="Arial" charset="0"/>
                <a:ea typeface="Arial" charset="0"/>
                <a:cs typeface="Arial" charset="0"/>
              </a:defRPr>
            </a:lvl3pPr>
            <a:lvl4pPr marL="1027774" indent="0">
              <a:buNone/>
              <a:defRPr>
                <a:latin typeface="Arial" charset="0"/>
                <a:ea typeface="Arial" charset="0"/>
                <a:cs typeface="Arial" charset="0"/>
              </a:defRPr>
            </a:lvl4pPr>
            <a:lvl5pPr marL="1370366" indent="0">
              <a:buNone/>
              <a:defRPr>
                <a:latin typeface="Arial" charset="0"/>
                <a:ea typeface="Arial" charset="0"/>
                <a:cs typeface="Arial" charset="0"/>
              </a:defRPr>
            </a:lvl5pPr>
          </a:lstStyle>
          <a:p>
            <a:pPr lvl="0"/>
            <a:r>
              <a:rPr lang="en-US" dirty="0"/>
              <a:t>Presenter Name &amp;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829" y="598286"/>
            <a:ext cx="1308559" cy="1308559"/>
          </a:xfrm>
          <a:prstGeom prst="rect">
            <a:avLst/>
          </a:prstGeom>
        </p:spPr>
      </p:pic>
      <p:sp>
        <p:nvSpPr>
          <p:cNvPr id="13" name="Title 1"/>
          <p:cNvSpPr txBox="1">
            <a:spLocks/>
          </p:cNvSpPr>
          <p:nvPr userDrawn="1"/>
        </p:nvSpPr>
        <p:spPr>
          <a:xfrm>
            <a:off x="609097" y="1969086"/>
            <a:ext cx="6074264" cy="1190424"/>
          </a:xfrm>
          <a:prstGeom prst="rect">
            <a:avLst/>
          </a:prstGeom>
        </p:spPr>
        <p:txBody>
          <a:bodyPr anchor="ctr"/>
          <a:lstStyle>
            <a:lvl1pPr marL="0" indent="0" algn="l" defTabSz="685800" rtl="0" eaLnBrk="1" latinLnBrk="0" hangingPunct="1">
              <a:lnSpc>
                <a:spcPct val="85000"/>
              </a:lnSpc>
              <a:spcBef>
                <a:spcPct val="0"/>
              </a:spcBef>
              <a:buFont typeface="Arial" charset="0"/>
              <a:buNone/>
              <a:defRPr sz="4500" b="1" i="0" kern="3500" spc="-150" baseline="0">
                <a:solidFill>
                  <a:schemeClr val="bg2"/>
                </a:solidFill>
                <a:latin typeface="Arial Bold" charset="0"/>
                <a:ea typeface="Arial Bold" charset="0"/>
                <a:cs typeface="Arial Bold" charset="0"/>
              </a:defRPr>
            </a:lvl1pPr>
          </a:lstStyle>
          <a:p>
            <a:pPr marL="0" marR="0" lvl="0" indent="0" algn="l" defTabSz="685183" rtl="0" eaLnBrk="1" fontAlgn="auto" latinLnBrk="0" hangingPunct="1">
              <a:lnSpc>
                <a:spcPct val="85000"/>
              </a:lnSpc>
              <a:spcBef>
                <a:spcPct val="0"/>
              </a:spcBef>
              <a:spcAft>
                <a:spcPts val="0"/>
              </a:spcAft>
              <a:buClrTx/>
              <a:buSzTx/>
              <a:buFont typeface="Arial" charset="0"/>
              <a:buNone/>
              <a:tabLst/>
              <a:defRPr/>
            </a:pPr>
            <a:r>
              <a:rPr kumimoji="0" lang="en-US" sz="6594" b="1" i="0" u="none" strike="noStrike" kern="3500" cap="none" spc="-250" normalizeH="0" baseline="0" noProof="0">
                <a:ln>
                  <a:noFill/>
                </a:ln>
                <a:solidFill>
                  <a:srgbClr val="FFFFFF"/>
                </a:solidFill>
                <a:effectLst/>
                <a:uLnTx/>
                <a:uFillTx/>
                <a:latin typeface="Arial Bold" charset="0"/>
                <a:cs typeface="Arial Bold" charset="0"/>
              </a:rPr>
              <a:t>Thank You.</a:t>
            </a:r>
            <a:endParaRPr kumimoji="0" lang="en-US" sz="6594" b="1" i="0" u="none" strike="noStrike" kern="3500" cap="none" spc="-250" normalizeH="0" baseline="0" noProof="0" dirty="0">
              <a:ln>
                <a:noFill/>
              </a:ln>
              <a:solidFill>
                <a:srgbClr val="FFFFFF"/>
              </a:solidFill>
              <a:effectLst/>
              <a:uLnTx/>
              <a:uFillTx/>
              <a:latin typeface="Arial Bold" charset="0"/>
              <a:cs typeface="Arial Bold" charset="0"/>
            </a:endParaRPr>
          </a:p>
        </p:txBody>
      </p:sp>
    </p:spTree>
    <p:extLst>
      <p:ext uri="{BB962C8B-B14F-4D97-AF65-F5344CB8AC3E}">
        <p14:creationId xmlns:p14="http://schemas.microsoft.com/office/powerpoint/2010/main" val="3296420243"/>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lIns="91376" tIns="45688" rIns="91376" bIns="45688"/>
          <a:lstStyle>
            <a:lvl1pPr>
              <a:lnSpc>
                <a:spcPct val="80000"/>
              </a:lnSpc>
              <a:defRPr sz="4796"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54"/>
            <a:ext cx="8229600" cy="979487"/>
          </a:xfrm>
          <a:prstGeom prst="rect">
            <a:avLst/>
          </a:prstGeom>
        </p:spPr>
        <p:txBody>
          <a:bodyPr vert="horz" lIns="91376" tIns="45688" rIns="91376" bIns="45688"/>
          <a:lstStyle>
            <a:lvl1pPr marL="0" indent="0" algn="ctr">
              <a:buNone/>
              <a:defRPr sz="1798"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8417899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a:prstGeom prst="rect">
            <a:avLst/>
          </a:prstGeom>
        </p:spPr>
        <p:txBody>
          <a:bodyPr anchor="b"/>
          <a:lstStyle>
            <a:lvl1pPr algn="ctr">
              <a:defRPr sz="4496"/>
            </a:lvl1pPr>
          </a:lstStyle>
          <a:p>
            <a:r>
              <a:rPr lang="en-US"/>
              <a:t>Click to edit Master title style</a:t>
            </a:r>
          </a:p>
        </p:txBody>
      </p:sp>
      <p:sp>
        <p:nvSpPr>
          <p:cNvPr id="3" name="Subtitle 2"/>
          <p:cNvSpPr>
            <a:spLocks noGrp="1"/>
          </p:cNvSpPr>
          <p:nvPr>
            <p:ph type="subTitle" idx="1"/>
          </p:nvPr>
        </p:nvSpPr>
        <p:spPr>
          <a:xfrm>
            <a:off x="1143000" y="2701528"/>
            <a:ext cx="6858000" cy="1241822"/>
          </a:xfrm>
          <a:prstGeom prst="rect">
            <a:avLst/>
          </a:prstGeom>
        </p:spPr>
        <p:txBody>
          <a:bodyPr/>
          <a:lstStyle>
            <a:lvl1pPr marL="0" indent="0" algn="ctr">
              <a:buNone/>
              <a:defRPr sz="1798"/>
            </a:lvl1pPr>
            <a:lvl2pPr marL="342591" indent="0" algn="ctr">
              <a:buNone/>
              <a:defRPr sz="1499"/>
            </a:lvl2pPr>
            <a:lvl3pPr marL="685183" indent="0" algn="ctr">
              <a:buNone/>
              <a:defRPr sz="1349"/>
            </a:lvl3pPr>
            <a:lvl4pPr marL="1027774" indent="0" algn="ctr">
              <a:buNone/>
              <a:defRPr sz="1199"/>
            </a:lvl4pPr>
            <a:lvl5pPr marL="1370366" indent="0" algn="ctr">
              <a:buNone/>
              <a:defRPr sz="1199"/>
            </a:lvl5pPr>
            <a:lvl6pPr marL="1712957" indent="0" algn="ctr">
              <a:buNone/>
              <a:defRPr sz="1199"/>
            </a:lvl6pPr>
            <a:lvl7pPr marL="2055548" indent="0" algn="ctr">
              <a:buNone/>
              <a:defRPr sz="1199"/>
            </a:lvl7pPr>
            <a:lvl8pPr marL="2398140" indent="0" algn="ctr">
              <a:buNone/>
              <a:defRPr sz="1199"/>
            </a:lvl8pPr>
            <a:lvl9pPr marL="2740731" indent="0" algn="ctr">
              <a:buNone/>
              <a:defRPr sz="1199"/>
            </a:lvl9pPr>
          </a:lstStyle>
          <a:p>
            <a:r>
              <a:rPr lang="en-US"/>
              <a:t>Click to edit Master subtitle style</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9B5ACB06-3CB9-480F-865A-A9E0F9AB49F9}" type="datetimeFigureOut">
              <a:rPr lang="en-US" smtClean="0">
                <a:solidFill>
                  <a:prstClr val="black">
                    <a:tint val="75000"/>
                  </a:prstClr>
                </a:solidFill>
              </a:rPr>
              <a:pPr/>
              <a:t>22/04/18</a:t>
            </a:fld>
            <a:endParaRPr lang="en-US">
              <a:solidFill>
                <a:prstClr val="black">
                  <a:tint val="75000"/>
                </a:prstClr>
              </a:solidFill>
            </a:endParaRPr>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4661775B-D36D-4628-9EEA-86B3FCEAAE2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12855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2" y="209551"/>
            <a:ext cx="8541559" cy="511135"/>
          </a:xfrm>
          <a:prstGeom prst="rect">
            <a:avLst/>
          </a:prstGeom>
          <a:effectLst/>
        </p:spPr>
        <p:txBody>
          <a:bodyPr vert="horz" lIns="91440" tIns="45720" rIns="91440" bIns="45720" rtlCol="0" anchor="b">
            <a:normAutofit/>
          </a:bodyPr>
          <a:lstStyle>
            <a:lvl1pPr>
              <a:defRPr lang="en-US" sz="3197"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2"/>
            <a:ext cx="8540496" cy="246888"/>
          </a:xfrm>
          <a:prstGeom prst="rect">
            <a:avLst/>
          </a:prstGeom>
          <a:ln w="76200" cmpd="sng">
            <a:noFill/>
          </a:ln>
        </p:spPr>
        <p:txBody>
          <a:bodyPr wrap="square" lIns="91440" tIns="0" rIns="0" bIns="0" anchor="b">
            <a:spAutoFit/>
          </a:bodyPr>
          <a:lstStyle>
            <a:lvl1pPr marL="0" indent="0" algn="l">
              <a:buNone/>
              <a:defRPr sz="1798" b="1">
                <a:solidFill>
                  <a:schemeClr val="accent3"/>
                </a:solidFill>
                <a:effectLst/>
              </a:defRPr>
            </a:lvl1pPr>
            <a:lvl2pPr marL="456789" indent="0" algn="ctr">
              <a:buNone/>
              <a:defRPr>
                <a:solidFill>
                  <a:schemeClr val="tx1">
                    <a:tint val="75000"/>
                  </a:schemeClr>
                </a:solidFill>
              </a:defRPr>
            </a:lvl2pPr>
            <a:lvl3pPr marL="913577" indent="0" algn="ctr">
              <a:buNone/>
              <a:defRPr>
                <a:solidFill>
                  <a:schemeClr val="tx1">
                    <a:tint val="75000"/>
                  </a:schemeClr>
                </a:solidFill>
              </a:defRPr>
            </a:lvl3pPr>
            <a:lvl4pPr marL="1370366" indent="0" algn="ctr">
              <a:buNone/>
              <a:defRPr>
                <a:solidFill>
                  <a:schemeClr val="tx1">
                    <a:tint val="75000"/>
                  </a:schemeClr>
                </a:solidFill>
              </a:defRPr>
            </a:lvl4pPr>
            <a:lvl5pPr marL="1827154" indent="0" algn="ctr">
              <a:buNone/>
              <a:defRPr>
                <a:solidFill>
                  <a:schemeClr val="tx1">
                    <a:tint val="75000"/>
                  </a:schemeClr>
                </a:solidFill>
              </a:defRPr>
            </a:lvl5pPr>
            <a:lvl6pPr marL="2283943" indent="0" algn="ctr">
              <a:buNone/>
              <a:defRPr>
                <a:solidFill>
                  <a:schemeClr val="tx1">
                    <a:tint val="75000"/>
                  </a:schemeClr>
                </a:solidFill>
              </a:defRPr>
            </a:lvl6pPr>
            <a:lvl7pPr marL="2740731" indent="0" algn="ctr">
              <a:buNone/>
              <a:defRPr>
                <a:solidFill>
                  <a:schemeClr val="tx1">
                    <a:tint val="75000"/>
                  </a:schemeClr>
                </a:solidFill>
              </a:defRPr>
            </a:lvl7pPr>
            <a:lvl8pPr marL="3197520" indent="0" algn="ctr">
              <a:buNone/>
              <a:defRPr>
                <a:solidFill>
                  <a:schemeClr val="tx1">
                    <a:tint val="75000"/>
                  </a:schemeClr>
                </a:solidFill>
              </a:defRPr>
            </a:lvl8pPr>
            <a:lvl9pPr marL="3654308"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798" b="0"/>
            </a:lvl1pPr>
            <a:lvl2pPr>
              <a:defRPr sz="1599"/>
            </a:lvl2pPr>
            <a:lvl3pPr>
              <a:defRPr sz="1399"/>
            </a:lvl3pPr>
            <a:lvl4pPr>
              <a:defRPr sz="1399"/>
            </a:lvl4pPr>
            <a:lvl5pPr>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50" y="4921781"/>
            <a:ext cx="290945" cy="220240"/>
          </a:xfrm>
          <a:prstGeom prst="rect">
            <a:avLst/>
          </a:prstGeom>
          <a:ln>
            <a:noFill/>
          </a:ln>
        </p:spPr>
        <p:txBody>
          <a:bodyPr/>
          <a:lstStyle>
            <a:lvl1pPr algn="ctr">
              <a:defRPr sz="599"/>
            </a:lvl1pPr>
          </a:lstStyle>
          <a:p>
            <a:fld id="{A34E5796-B6AC-4C80-ACD7-07B1272A6BDB}" type="slidenum">
              <a:rPr lang="en-US" smtClean="0"/>
              <a:pPr/>
              <a:t>‹#›</a:t>
            </a:fld>
            <a:endParaRPr lang="en-US"/>
          </a:p>
        </p:txBody>
      </p:sp>
      <p:sp>
        <p:nvSpPr>
          <p:cNvPr id="9" name="Title 5"/>
          <p:cNvSpPr txBox="1">
            <a:spLocks/>
          </p:cNvSpPr>
          <p:nvPr userDrawn="1"/>
        </p:nvSpPr>
        <p:spPr>
          <a:xfrm>
            <a:off x="8213208" y="4674296"/>
            <a:ext cx="711322" cy="326340"/>
          </a:xfrm>
          <a:prstGeom prst="rect">
            <a:avLst/>
          </a:prstGeom>
          <a:ln>
            <a:solidFill>
              <a:schemeClr val="bg1"/>
            </a:solidFill>
          </a:ln>
        </p:spPr>
        <p:txBody>
          <a:bodyPr vert="horz" lIns="0" rIns="0"/>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r>
              <a:rPr lang="en-US" sz="1099" spc="0" dirty="0">
                <a:solidFill>
                  <a:schemeClr val="accent1"/>
                </a:solidFill>
                <a:latin typeface="Calibri" panose="020F0502020204030204" pitchFamily="34" charset="0"/>
              </a:rPr>
              <a:t> </a:t>
            </a:r>
            <a:r>
              <a:rPr lang="en-US" sz="899" spc="0" dirty="0">
                <a:solidFill>
                  <a:schemeClr val="accent1"/>
                </a:solidFill>
                <a:latin typeface="Calibri" panose="020F0502020204030204" pitchFamily="34" charset="0"/>
              </a:rPr>
              <a:t>Brand</a:t>
            </a:r>
          </a:p>
          <a:p>
            <a:r>
              <a:rPr lang="en-US" sz="899" spc="0" dirty="0">
                <a:solidFill>
                  <a:schemeClr val="accent1"/>
                </a:solidFill>
                <a:latin typeface="Calibri" panose="020F0502020204030204" pitchFamily="34" charset="0"/>
              </a:rPr>
              <a:t>Intelligence IL</a:t>
            </a:r>
          </a:p>
        </p:txBody>
      </p:sp>
    </p:spTree>
    <p:extLst>
      <p:ext uri="{BB962C8B-B14F-4D97-AF65-F5344CB8AC3E}">
        <p14:creationId xmlns:p14="http://schemas.microsoft.com/office/powerpoint/2010/main" val="263488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61978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00152"/>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96C06D18-DE86-BD4D-A169-1B5FE6A953FB}" type="datetimeFigureOut">
              <a:rPr lang="en-US" smtClean="0"/>
              <a:t>22/04/18</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0BCCE288-166A-6C47-8FDA-6A6F8AD7A86C}" type="slidenum">
              <a:rPr lang="en-US" smtClean="0"/>
              <a:t>‹#›</a:t>
            </a:fld>
            <a:endParaRPr lang="en-US"/>
          </a:p>
        </p:txBody>
      </p:sp>
      <p:sp>
        <p:nvSpPr>
          <p:cNvPr id="7" name="Title 5"/>
          <p:cNvSpPr txBox="1">
            <a:spLocks/>
          </p:cNvSpPr>
          <p:nvPr userDrawn="1"/>
        </p:nvSpPr>
        <p:spPr>
          <a:xfrm>
            <a:off x="8213208" y="4674296"/>
            <a:ext cx="711322" cy="326340"/>
          </a:xfrm>
          <a:prstGeom prst="rect">
            <a:avLst/>
          </a:prstGeom>
          <a:ln>
            <a:solidFill>
              <a:schemeClr val="bg1"/>
            </a:solidFill>
          </a:ln>
        </p:spPr>
        <p:txBody>
          <a:bodyPr vert="horz" lIns="0" rIns="0"/>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r>
              <a:rPr lang="en-US" sz="1099" spc="0" dirty="0">
                <a:solidFill>
                  <a:schemeClr val="accent1"/>
                </a:solidFill>
                <a:latin typeface="Calibri" panose="020F0502020204030204" pitchFamily="34" charset="0"/>
              </a:rPr>
              <a:t> </a:t>
            </a:r>
            <a:r>
              <a:rPr lang="en-US" sz="899" spc="0" dirty="0">
                <a:solidFill>
                  <a:schemeClr val="accent1"/>
                </a:solidFill>
                <a:latin typeface="Calibri" panose="020F0502020204030204" pitchFamily="34" charset="0"/>
              </a:rPr>
              <a:t>Brand</a:t>
            </a:r>
          </a:p>
          <a:p>
            <a:r>
              <a:rPr lang="en-US" sz="899" spc="0" dirty="0">
                <a:solidFill>
                  <a:schemeClr val="accent1"/>
                </a:solidFill>
                <a:latin typeface="Calibri" panose="020F0502020204030204" pitchFamily="34" charset="0"/>
              </a:rPr>
              <a:t>Intelligence IL</a:t>
            </a:r>
          </a:p>
        </p:txBody>
      </p:sp>
    </p:spTree>
    <p:extLst>
      <p:ext uri="{BB962C8B-B14F-4D97-AF65-F5344CB8AC3E}">
        <p14:creationId xmlns:p14="http://schemas.microsoft.com/office/powerpoint/2010/main" val="3863705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50" y="4921781"/>
            <a:ext cx="290945" cy="220240"/>
          </a:xfrm>
          <a:prstGeom prst="rect">
            <a:avLst/>
          </a:prstGeom>
          <a:ln>
            <a:noFill/>
          </a:ln>
        </p:spPr>
        <p:txBody>
          <a:bodyPr/>
          <a:lstStyle>
            <a:lvl1pPr algn="ctr">
              <a:defRPr sz="599"/>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798" b="0"/>
            </a:lvl1pPr>
            <a:lvl2pPr>
              <a:defRPr sz="1599"/>
            </a:lvl2pPr>
            <a:lvl3pPr>
              <a:defRPr sz="1399"/>
            </a:lvl3pPr>
            <a:lvl4pPr>
              <a:defRPr sz="1399"/>
            </a:lvl4pPr>
            <a:lvl5pPr>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5"/>
          <p:cNvSpPr txBox="1">
            <a:spLocks/>
          </p:cNvSpPr>
          <p:nvPr userDrawn="1"/>
        </p:nvSpPr>
        <p:spPr>
          <a:xfrm>
            <a:off x="8213208" y="4674296"/>
            <a:ext cx="711322" cy="326340"/>
          </a:xfrm>
          <a:prstGeom prst="rect">
            <a:avLst/>
          </a:prstGeom>
          <a:ln>
            <a:solidFill>
              <a:schemeClr val="bg1"/>
            </a:solidFill>
          </a:ln>
        </p:spPr>
        <p:txBody>
          <a:bodyPr vert="horz" lIns="0" rIns="0"/>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r>
              <a:rPr lang="en-US" sz="1099" spc="0" dirty="0">
                <a:solidFill>
                  <a:schemeClr val="accent1"/>
                </a:solidFill>
                <a:latin typeface="Calibri" panose="020F0502020204030204" pitchFamily="34" charset="0"/>
              </a:rPr>
              <a:t> </a:t>
            </a:r>
            <a:r>
              <a:rPr lang="en-US" sz="899" spc="0" dirty="0">
                <a:solidFill>
                  <a:schemeClr val="accent1"/>
                </a:solidFill>
                <a:latin typeface="Calibri" panose="020F0502020204030204" pitchFamily="34" charset="0"/>
              </a:rPr>
              <a:t>Brand</a:t>
            </a:r>
          </a:p>
          <a:p>
            <a:r>
              <a:rPr lang="en-US" sz="899" spc="0" dirty="0">
                <a:solidFill>
                  <a:schemeClr val="accent1"/>
                </a:solidFill>
                <a:latin typeface="Calibri" panose="020F0502020204030204" pitchFamily="34" charset="0"/>
              </a:rPr>
              <a:t>Intelligence IL</a:t>
            </a:r>
          </a:p>
        </p:txBody>
      </p:sp>
    </p:spTree>
    <p:extLst>
      <p:ext uri="{BB962C8B-B14F-4D97-AF65-F5344CB8AC3E}">
        <p14:creationId xmlns:p14="http://schemas.microsoft.com/office/powerpoint/2010/main" val="391533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Insights BG 2 Char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1" y="1588"/>
          <a:ext cx="1587" cy="1586"/>
        </p:xfrm>
        <a:graphic>
          <a:graphicData uri="http://schemas.openxmlformats.org/presentationml/2006/ole">
            <mc:AlternateContent xmlns:mc="http://schemas.openxmlformats.org/markup-compatibility/2006">
              <mc:Choice xmlns:v="urn:schemas-microsoft-com:vml" Requires="v">
                <p:oleObj spid="_x0000_s449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1" y="1588"/>
                        <a:ext cx="1587" cy="1586"/>
                      </a:xfrm>
                      <a:prstGeom prst="rect">
                        <a:avLst/>
                      </a:prstGeom>
                    </p:spPr>
                  </p:pic>
                </p:oleObj>
              </mc:Fallback>
            </mc:AlternateContent>
          </a:graphicData>
        </a:graphic>
      </p:graphicFrame>
      <p:sp>
        <p:nvSpPr>
          <p:cNvPr id="15" name="Rectangle 14"/>
          <p:cNvSpPr/>
          <p:nvPr userDrawn="1"/>
        </p:nvSpPr>
        <p:spPr>
          <a:xfrm>
            <a:off x="4163008" y="2380"/>
            <a:ext cx="4980992" cy="5138740"/>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6" dirty="0">
              <a:solidFill>
                <a:prstClr val="white"/>
              </a:solidFill>
            </a:endParaRPr>
          </a:p>
        </p:txBody>
      </p:sp>
      <p:sp>
        <p:nvSpPr>
          <p:cNvPr id="7" name="Text Placeholder 11"/>
          <p:cNvSpPr>
            <a:spLocks noGrp="1"/>
          </p:cNvSpPr>
          <p:nvPr>
            <p:ph type="body" sz="quarter" idx="29" hasCustomPrompt="1"/>
          </p:nvPr>
        </p:nvSpPr>
        <p:spPr>
          <a:xfrm>
            <a:off x="213874" y="1644503"/>
            <a:ext cx="3903427" cy="3291428"/>
          </a:xfrm>
          <a:prstGeom prst="rect">
            <a:avLst/>
          </a:prstGeom>
        </p:spPr>
        <p:txBody>
          <a:bodyPr lIns="0" tIns="91440"/>
          <a:lstStyle>
            <a:lvl1pPr marL="0" indent="0">
              <a:lnSpc>
                <a:spcPct val="100000"/>
              </a:lnSpc>
              <a:spcBef>
                <a:spcPts val="0"/>
              </a:spcBef>
              <a:spcAft>
                <a:spcPts val="598"/>
              </a:spcAft>
              <a:buClr>
                <a:schemeClr val="bg1"/>
              </a:buClr>
              <a:buFont typeface="Wingdings" panose="05000000000000000000" pitchFamily="2" charset="2"/>
              <a:buNone/>
              <a:defRPr sz="1198" baseline="0"/>
            </a:lvl1pPr>
            <a:lvl2pPr marL="294743" indent="-294743">
              <a:lnSpc>
                <a:spcPct val="100000"/>
              </a:lnSpc>
              <a:spcBef>
                <a:spcPts val="0"/>
              </a:spcBef>
              <a:spcAft>
                <a:spcPts val="598"/>
              </a:spcAft>
              <a:buClr>
                <a:schemeClr val="bg1"/>
              </a:buClr>
              <a:buFont typeface="Wingdings" panose="05000000000000000000" pitchFamily="2" charset="2"/>
              <a:buChar char="§"/>
              <a:defRPr sz="1198"/>
            </a:lvl2pPr>
            <a:lvl3pPr marL="526102" indent="-217096">
              <a:lnSpc>
                <a:spcPct val="100000"/>
              </a:lnSpc>
              <a:spcBef>
                <a:spcPts val="0"/>
              </a:spcBef>
              <a:spcAft>
                <a:spcPts val="598"/>
              </a:spcAft>
              <a:buClr>
                <a:schemeClr val="bg1"/>
              </a:buClr>
              <a:buFont typeface="Wingdings" panose="05000000000000000000" pitchFamily="2" charset="2"/>
              <a:buChar char="§"/>
              <a:tabLst>
                <a:tab pos="231358" algn="l"/>
              </a:tabLst>
              <a:defRPr sz="1198"/>
            </a:lvl3pPr>
            <a:lvl4pPr marL="736860" indent="-202834">
              <a:lnSpc>
                <a:spcPct val="100000"/>
              </a:lnSpc>
              <a:spcBef>
                <a:spcPts val="0"/>
              </a:spcBef>
              <a:spcAft>
                <a:spcPts val="598"/>
              </a:spcAft>
              <a:buClr>
                <a:schemeClr val="bg1"/>
              </a:buClr>
              <a:buFont typeface="Wingdings" panose="05000000000000000000" pitchFamily="2" charset="2"/>
              <a:buChar char="§"/>
              <a:defRPr sz="1198"/>
            </a:lvl4pPr>
            <a:lvl5pPr marL="927017" indent="-190158">
              <a:lnSpc>
                <a:spcPct val="100000"/>
              </a:lnSpc>
              <a:spcBef>
                <a:spcPts val="1198"/>
              </a:spcBef>
              <a:buClr>
                <a:schemeClr val="bg1"/>
              </a:buClr>
              <a:buFont typeface="Wingdings" panose="05000000000000000000" pitchFamily="2" charset="2"/>
              <a:buChar char="§"/>
              <a:defRPr sz="1198"/>
            </a:lvl5pPr>
          </a:lstStyle>
          <a:p>
            <a:pPr lvl="0"/>
            <a:r>
              <a:rPr lang="en-US" dirty="0"/>
              <a:t>Edit to edit Master text styles</a:t>
            </a:r>
          </a:p>
          <a:p>
            <a:pPr lvl="1"/>
            <a:r>
              <a:rPr lang="en-US" dirty="0"/>
              <a:t>Second level</a:t>
            </a:r>
          </a:p>
          <a:p>
            <a:pPr lvl="2"/>
            <a:r>
              <a:rPr lang="en-US" dirty="0"/>
              <a:t>Third level</a:t>
            </a:r>
          </a:p>
        </p:txBody>
      </p:sp>
      <p:sp>
        <p:nvSpPr>
          <p:cNvPr id="9" name="Text Placeholder 3"/>
          <p:cNvSpPr>
            <a:spLocks noGrp="1"/>
          </p:cNvSpPr>
          <p:nvPr>
            <p:ph type="body" sz="quarter" idx="26" hasCustomPrompt="1"/>
          </p:nvPr>
        </p:nvSpPr>
        <p:spPr>
          <a:xfrm>
            <a:off x="213874" y="834375"/>
            <a:ext cx="3903427" cy="802080"/>
          </a:xfrm>
          <a:prstGeom prst="rect">
            <a:avLst/>
          </a:prstGeom>
        </p:spPr>
        <p:txBody>
          <a:bodyPr lIns="0" anchor="ctr">
            <a:normAutofit/>
          </a:bodyPr>
          <a:lstStyle>
            <a:lvl1pPr marL="0" indent="0" algn="l" defTabSz="684566" rtl="0" eaLnBrk="1" fontAlgn="t" latinLnBrk="0" hangingPunct="1">
              <a:lnSpc>
                <a:spcPct val="90000"/>
              </a:lnSpc>
              <a:spcBef>
                <a:spcPts val="0"/>
              </a:spcBef>
              <a:buFont typeface="Arial"/>
              <a:buNone/>
              <a:defRPr lang="en-US" sz="1796" b="1" kern="2500" spc="-70" baseline="0" dirty="0" smtClean="0">
                <a:solidFill>
                  <a:schemeClr val="tx1"/>
                </a:solidFill>
                <a:latin typeface="Arial" charset="0"/>
                <a:ea typeface="Arial" charset="0"/>
                <a:cs typeface="Arial" charset="0"/>
              </a:defRPr>
            </a:lvl1pPr>
            <a:lvl2pPr marL="342283" indent="0">
              <a:buNone/>
              <a:defRPr b="1">
                <a:latin typeface="Arial" charset="0"/>
                <a:ea typeface="Arial" charset="0"/>
                <a:cs typeface="Arial" charset="0"/>
              </a:defRPr>
            </a:lvl2pPr>
            <a:lvl3pPr marL="684566" indent="0">
              <a:buNone/>
              <a:defRPr b="1">
                <a:latin typeface="Arial" charset="0"/>
                <a:ea typeface="Arial" charset="0"/>
                <a:cs typeface="Arial" charset="0"/>
              </a:defRPr>
            </a:lvl3pPr>
            <a:lvl4pPr marL="1026849" indent="0">
              <a:buNone/>
              <a:defRPr b="1">
                <a:latin typeface="Arial" charset="0"/>
                <a:ea typeface="Arial" charset="0"/>
                <a:cs typeface="Arial" charset="0"/>
              </a:defRPr>
            </a:lvl4pPr>
            <a:lvl5pPr marL="1369133" indent="0">
              <a:buNone/>
              <a:defRPr b="1">
                <a:latin typeface="Arial" charset="0"/>
                <a:ea typeface="Arial" charset="0"/>
                <a:cs typeface="Arial" charset="0"/>
              </a:defRPr>
            </a:lvl5pPr>
          </a:lstStyle>
          <a:p>
            <a:pPr lvl="0"/>
            <a:r>
              <a:rPr lang="en-US" dirty="0"/>
              <a:t>Storytelling Slide</a:t>
            </a:r>
            <a:br>
              <a:rPr lang="en-US" dirty="0"/>
            </a:br>
            <a:r>
              <a:rPr lang="en-US" dirty="0"/>
              <a:t>Insert Title Here</a:t>
            </a:r>
          </a:p>
        </p:txBody>
      </p:sp>
      <p:sp>
        <p:nvSpPr>
          <p:cNvPr id="6" name="Slide Number Placeholder 23"/>
          <p:cNvSpPr>
            <a:spLocks noGrp="1"/>
          </p:cNvSpPr>
          <p:nvPr>
            <p:ph type="sldNum" sz="quarter" idx="4"/>
          </p:nvPr>
        </p:nvSpPr>
        <p:spPr>
          <a:xfrm>
            <a:off x="8925767" y="4944976"/>
            <a:ext cx="199187" cy="101304"/>
          </a:xfrm>
          <a:prstGeom prst="rect">
            <a:avLst/>
          </a:prstGeom>
        </p:spPr>
        <p:txBody>
          <a:bodyPr vert="horz" lIns="0" tIns="0" rIns="0" bIns="0" rtlCol="0" anchor="t" anchorCtr="0"/>
          <a:lstStyle>
            <a:lvl1pPr algn="l">
              <a:defRPr sz="598">
                <a:solidFill>
                  <a:schemeClr val="bg2"/>
                </a:solidFill>
              </a:defRPr>
            </a:lvl1pPr>
          </a:lstStyle>
          <a:p>
            <a:fld id="{05B8F0D5-F301-8E40-857B-79C0FA3150AF}" type="slidenum">
              <a:rPr lang="en-US" smtClean="0"/>
              <a:pPr/>
              <a:t>‹#›</a:t>
            </a:fld>
            <a:endParaRPr lang="en-US" dirty="0"/>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4965" y="236383"/>
            <a:ext cx="566777" cy="566777"/>
          </a:xfrm>
          <a:prstGeom prst="rect">
            <a:avLst/>
          </a:prstGeom>
        </p:spPr>
      </p:pic>
      <p:sp>
        <p:nvSpPr>
          <p:cNvPr id="19" name="Content Placeholder 18"/>
          <p:cNvSpPr>
            <a:spLocks noGrp="1"/>
          </p:cNvSpPr>
          <p:nvPr>
            <p:ph sz="quarter" idx="30"/>
          </p:nvPr>
        </p:nvSpPr>
        <p:spPr>
          <a:xfrm>
            <a:off x="4195392" y="834374"/>
            <a:ext cx="4916231" cy="1960461"/>
          </a:xfrm>
          <a:prstGeom prst="rect">
            <a:avLst/>
          </a:prstGeom>
        </p:spPr>
        <p:txBody>
          <a:bodyPr/>
          <a:lstStyle>
            <a:lvl1pPr marL="171142" indent="-171142">
              <a:buClr>
                <a:schemeClr val="accent1"/>
              </a:buClr>
              <a:buFont typeface="Wingdings" panose="05000000000000000000" pitchFamily="2" charset="2"/>
              <a:buChar char="§"/>
              <a:defRPr sz="1198">
                <a:solidFill>
                  <a:schemeClr val="tx2"/>
                </a:solidFill>
              </a:defRPr>
            </a:lvl1pPr>
            <a:lvl2pPr marL="513425" indent="-171142">
              <a:buClr>
                <a:schemeClr val="accent1"/>
              </a:buClr>
              <a:buFont typeface="Wingdings" panose="05000000000000000000" pitchFamily="2" charset="2"/>
              <a:buChar char="§"/>
              <a:defRPr sz="1198">
                <a:solidFill>
                  <a:schemeClr val="tx2"/>
                </a:solidFill>
              </a:defRPr>
            </a:lvl2pPr>
            <a:lvl3pPr marL="855707" indent="-171142">
              <a:buClr>
                <a:schemeClr val="accent1"/>
              </a:buClr>
              <a:buFont typeface="Wingdings" panose="05000000000000000000" pitchFamily="2" charset="2"/>
              <a:buChar char="§"/>
              <a:defRPr sz="1198">
                <a:solidFill>
                  <a:schemeClr val="tx2"/>
                </a:solidFill>
              </a:defRPr>
            </a:lvl3pPr>
            <a:lvl4pPr marL="1197991" indent="-171142">
              <a:buClr>
                <a:schemeClr val="accent1"/>
              </a:buClr>
              <a:buFont typeface="Wingdings" panose="05000000000000000000" pitchFamily="2" charset="2"/>
              <a:buChar char="§"/>
              <a:defRPr sz="1198">
                <a:solidFill>
                  <a:schemeClr val="tx2"/>
                </a:solidFill>
              </a:defRPr>
            </a:lvl4pPr>
            <a:lvl5pPr marL="1540274" indent="-171142">
              <a:buClr>
                <a:schemeClr val="accent1"/>
              </a:buClr>
              <a:buFont typeface="Wingdings" panose="05000000000000000000" pitchFamily="2" charset="2"/>
              <a:buChar char="§"/>
              <a:defRPr sz="1198">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31" hasCustomPrompt="1"/>
          </p:nvPr>
        </p:nvSpPr>
        <p:spPr>
          <a:xfrm>
            <a:off x="4195392" y="407060"/>
            <a:ext cx="4916231" cy="419264"/>
          </a:xfrm>
          <a:prstGeom prst="rect">
            <a:avLst/>
          </a:prstGeom>
        </p:spPr>
        <p:txBody>
          <a:bodyPr anchor="ctr"/>
          <a:lstStyle>
            <a:lvl1pPr marL="0" indent="0" algn="ctr">
              <a:lnSpc>
                <a:spcPct val="100000"/>
              </a:lnSpc>
              <a:spcBef>
                <a:spcPts val="0"/>
              </a:spcBef>
              <a:buNone/>
              <a:defRPr sz="1048" b="1">
                <a:solidFill>
                  <a:schemeClr val="tx2"/>
                </a:solidFill>
              </a:defRPr>
            </a:lvl1pPr>
            <a:lvl2pPr marL="342283" indent="0" algn="ctr">
              <a:buNone/>
              <a:defRPr sz="998">
                <a:solidFill>
                  <a:schemeClr val="tx2"/>
                </a:solidFill>
              </a:defRPr>
            </a:lvl2pPr>
            <a:lvl3pPr marL="684566" indent="0" algn="ctr">
              <a:buNone/>
              <a:defRPr sz="998">
                <a:solidFill>
                  <a:schemeClr val="tx2"/>
                </a:solidFill>
              </a:defRPr>
            </a:lvl3pPr>
            <a:lvl4pPr marL="1026849" indent="0" algn="ctr">
              <a:buNone/>
              <a:defRPr sz="998">
                <a:solidFill>
                  <a:schemeClr val="tx2"/>
                </a:solidFill>
              </a:defRPr>
            </a:lvl4pPr>
            <a:lvl5pPr marL="1369133" indent="0" algn="ctr">
              <a:buNone/>
              <a:defRPr sz="998">
                <a:solidFill>
                  <a:schemeClr val="tx2"/>
                </a:solidFill>
              </a:defRPr>
            </a:lvl5pPr>
          </a:lstStyle>
          <a:p>
            <a:pPr lvl="0"/>
            <a:r>
              <a:rPr lang="en-US" dirty="0"/>
              <a:t>Click To Edit Master Text Styles</a:t>
            </a:r>
          </a:p>
          <a:p>
            <a:pPr lvl="0"/>
            <a:r>
              <a:rPr lang="en-US" dirty="0"/>
              <a:t>XX/XX/XXXX</a:t>
            </a:r>
          </a:p>
        </p:txBody>
      </p:sp>
      <p:sp>
        <p:nvSpPr>
          <p:cNvPr id="10" name="Content Placeholder 18"/>
          <p:cNvSpPr>
            <a:spLocks noGrp="1"/>
          </p:cNvSpPr>
          <p:nvPr>
            <p:ph sz="quarter" idx="32"/>
          </p:nvPr>
        </p:nvSpPr>
        <p:spPr>
          <a:xfrm>
            <a:off x="4195392" y="2889676"/>
            <a:ext cx="4916231" cy="1960461"/>
          </a:xfrm>
          <a:prstGeom prst="rect">
            <a:avLst/>
          </a:prstGeom>
        </p:spPr>
        <p:txBody>
          <a:bodyPr/>
          <a:lstStyle>
            <a:lvl1pPr marL="171142" indent="-171142">
              <a:buClr>
                <a:schemeClr val="accent1"/>
              </a:buClr>
              <a:buFont typeface="Wingdings" panose="05000000000000000000" pitchFamily="2" charset="2"/>
              <a:buChar char="§"/>
              <a:defRPr sz="1198">
                <a:solidFill>
                  <a:schemeClr val="tx2"/>
                </a:solidFill>
              </a:defRPr>
            </a:lvl1pPr>
            <a:lvl2pPr marL="513425" indent="-171142">
              <a:buClr>
                <a:schemeClr val="accent1"/>
              </a:buClr>
              <a:buFont typeface="Wingdings" panose="05000000000000000000" pitchFamily="2" charset="2"/>
              <a:buChar char="§"/>
              <a:defRPr sz="1198">
                <a:solidFill>
                  <a:schemeClr val="tx2"/>
                </a:solidFill>
              </a:defRPr>
            </a:lvl2pPr>
            <a:lvl3pPr marL="855707" indent="-171142">
              <a:buClr>
                <a:schemeClr val="accent1"/>
              </a:buClr>
              <a:buFont typeface="Wingdings" panose="05000000000000000000" pitchFamily="2" charset="2"/>
              <a:buChar char="§"/>
              <a:defRPr sz="1198">
                <a:solidFill>
                  <a:schemeClr val="tx2"/>
                </a:solidFill>
              </a:defRPr>
            </a:lvl3pPr>
            <a:lvl4pPr marL="1197991" indent="-171142">
              <a:buClr>
                <a:schemeClr val="accent1"/>
              </a:buClr>
              <a:buFont typeface="Wingdings" panose="05000000000000000000" pitchFamily="2" charset="2"/>
              <a:buChar char="§"/>
              <a:defRPr sz="1198">
                <a:solidFill>
                  <a:schemeClr val="tx2"/>
                </a:solidFill>
              </a:defRPr>
            </a:lvl4pPr>
            <a:lvl5pPr marL="1540274" indent="-171142">
              <a:buClr>
                <a:schemeClr val="accent1"/>
              </a:buClr>
              <a:buFont typeface="Wingdings" panose="05000000000000000000" pitchFamily="2" charset="2"/>
              <a:buChar char="§"/>
              <a:defRPr sz="1198">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5"/>
          <p:cNvSpPr txBox="1">
            <a:spLocks/>
          </p:cNvSpPr>
          <p:nvPr userDrawn="1"/>
        </p:nvSpPr>
        <p:spPr>
          <a:xfrm>
            <a:off x="204964" y="4674296"/>
            <a:ext cx="711322" cy="326340"/>
          </a:xfrm>
          <a:prstGeom prst="rect">
            <a:avLst/>
          </a:prstGeom>
          <a:ln>
            <a:solidFill>
              <a:schemeClr val="bg1"/>
            </a:solidFill>
          </a:ln>
        </p:spPr>
        <p:txBody>
          <a:bodyPr vert="horz" lIns="0" rIns="0"/>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r>
              <a:rPr lang="en-US" sz="1099" spc="0" dirty="0">
                <a:solidFill>
                  <a:schemeClr val="accent1"/>
                </a:solidFill>
                <a:latin typeface="Calibri" panose="020F0502020204030204" pitchFamily="34" charset="0"/>
              </a:rPr>
              <a:t> </a:t>
            </a:r>
            <a:r>
              <a:rPr lang="en-US" sz="899" spc="0" dirty="0">
                <a:solidFill>
                  <a:schemeClr val="accent1"/>
                </a:solidFill>
                <a:latin typeface="Calibri" panose="020F0502020204030204" pitchFamily="34" charset="0"/>
              </a:rPr>
              <a:t>Brand</a:t>
            </a:r>
          </a:p>
          <a:p>
            <a:r>
              <a:rPr lang="en-US" sz="899" spc="0" dirty="0">
                <a:solidFill>
                  <a:schemeClr val="accent1"/>
                </a:solidFill>
                <a:latin typeface="Calibri" panose="020F0502020204030204" pitchFamily="34" charset="0"/>
              </a:rPr>
              <a:t>Intelligence IL</a:t>
            </a:r>
          </a:p>
        </p:txBody>
      </p:sp>
    </p:spTree>
    <p:extLst>
      <p:ext uri="{BB962C8B-B14F-4D97-AF65-F5344CB8AC3E}">
        <p14:creationId xmlns:p14="http://schemas.microsoft.com/office/powerpoint/2010/main" val="33330135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Insights BG">
    <p:spTree>
      <p:nvGrpSpPr>
        <p:cNvPr id="1" name=""/>
        <p:cNvGrpSpPr/>
        <p:nvPr/>
      </p:nvGrpSpPr>
      <p:grpSpPr>
        <a:xfrm>
          <a:off x="0" y="0"/>
          <a:ext cx="0" cy="0"/>
          <a:chOff x="0" y="0"/>
          <a:chExt cx="0" cy="0"/>
        </a:xfrm>
      </p:grpSpPr>
      <p:sp>
        <p:nvSpPr>
          <p:cNvPr id="9" name="Rectangle 8"/>
          <p:cNvSpPr/>
          <p:nvPr userDrawn="1"/>
        </p:nvSpPr>
        <p:spPr>
          <a:xfrm>
            <a:off x="3752850" y="2"/>
            <a:ext cx="539115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58200" y="367"/>
            <a:ext cx="603584" cy="555297"/>
          </a:xfrm>
          <a:prstGeom prst="rect">
            <a:avLst/>
          </a:prstGeom>
        </p:spPr>
      </p:pic>
      <p:sp>
        <p:nvSpPr>
          <p:cNvPr id="15" name="Title Placeholder 1"/>
          <p:cNvSpPr>
            <a:spLocks noGrp="1"/>
          </p:cNvSpPr>
          <p:nvPr>
            <p:ph type="title" hasCustomPrompt="1"/>
          </p:nvPr>
        </p:nvSpPr>
        <p:spPr>
          <a:xfrm>
            <a:off x="210679" y="258672"/>
            <a:ext cx="3395687" cy="742387"/>
          </a:xfrm>
          <a:prstGeom prst="rect">
            <a:avLst/>
          </a:prstGeom>
        </p:spPr>
        <p:txBody>
          <a:bodyPr vert="horz" lIns="91440" tIns="45720" rIns="91440" bIns="45720" rtlCol="0" anchor="t">
            <a:normAutofit/>
          </a:bodyPr>
          <a:lstStyle>
            <a:lvl1pPr>
              <a:defRPr sz="1798"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208895" y="1028701"/>
            <a:ext cx="3397907" cy="392976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tx1">
                    <a:lumMod val="85000"/>
                    <a:lumOff val="15000"/>
                  </a:schemeClr>
                </a:solidFill>
                <a:latin typeface="Arial"/>
                <a:cs typeface="Arial"/>
              </a:defRPr>
            </a:lvl1pPr>
            <a:lvl2pPr marL="91358" indent="182715">
              <a:lnSpc>
                <a:spcPts val="1698"/>
              </a:lnSpc>
              <a:spcBef>
                <a:spcPts val="0"/>
              </a:spcBef>
              <a:spcAft>
                <a:spcPts val="300"/>
              </a:spcAft>
              <a:buClr>
                <a:schemeClr val="accent1"/>
              </a:buClr>
              <a:buFont typeface="Arial" panose="020B0604020202020204" pitchFamily="34" charset="0"/>
              <a:buChar char="•"/>
              <a:defRPr sz="1199" spc="-30" baseline="0">
                <a:solidFill>
                  <a:schemeClr val="tx1">
                    <a:lumMod val="85000"/>
                    <a:lumOff val="15000"/>
                  </a:schemeClr>
                </a:solidFill>
                <a:latin typeface="Arial"/>
                <a:cs typeface="Arial"/>
              </a:defRPr>
            </a:lvl2pPr>
            <a:lvl3pPr marL="91358" indent="182715">
              <a:lnSpc>
                <a:spcPts val="1698"/>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93" indent="171296">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4pPr>
            <a:lvl5pPr marL="456789" indent="228394">
              <a:spcAft>
                <a:spcPts val="300"/>
              </a:spcAft>
              <a:buClr>
                <a:schemeClr val="accent1"/>
              </a:buClr>
              <a:buFont typeface="Arial" panose="020B0604020202020204" pitchFamily="34" charset="0"/>
              <a:buChar char="•"/>
              <a:defRPr sz="1199"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1" name="Content Placeholder 18"/>
          <p:cNvSpPr>
            <a:spLocks noGrp="1"/>
          </p:cNvSpPr>
          <p:nvPr>
            <p:ph sz="quarter" idx="12"/>
          </p:nvPr>
        </p:nvSpPr>
        <p:spPr>
          <a:xfrm>
            <a:off x="3842385" y="995364"/>
            <a:ext cx="5212080" cy="3963100"/>
          </a:xfrm>
          <a:prstGeom prst="rect">
            <a:avLst/>
          </a:prstGeom>
        </p:spPr>
        <p:txBody>
          <a:bodyPr vert="horz"/>
          <a:lstStyle>
            <a:lvl1pPr marL="0" indent="0">
              <a:buNone/>
              <a:defRPr sz="1599" spc="-50">
                <a:solidFill>
                  <a:srgbClr val="FFFFFF"/>
                </a:solidFill>
                <a:latin typeface="Arial"/>
                <a:cs typeface="Arial"/>
              </a:defRPr>
            </a:lvl1pPr>
            <a:lvl2pPr marL="0" indent="-182715">
              <a:buFont typeface="Arial"/>
              <a:buChar char="•"/>
              <a:defRPr sz="1599" spc="-50">
                <a:solidFill>
                  <a:srgbClr val="FFFFFF"/>
                </a:solidFill>
                <a:latin typeface="Arial"/>
                <a:cs typeface="Arial"/>
              </a:defRPr>
            </a:lvl2pPr>
            <a:lvl3pPr marL="411110">
              <a:spcBef>
                <a:spcPts val="400"/>
              </a:spcBef>
              <a:defRPr sz="1599" spc="-50">
                <a:solidFill>
                  <a:srgbClr val="FFFFFF"/>
                </a:solidFill>
                <a:latin typeface="Arial"/>
                <a:cs typeface="Arial"/>
              </a:defRPr>
            </a:lvl3pPr>
            <a:lvl4pPr marL="502467" indent="-228394">
              <a:buFont typeface="Arial" panose="020B0604020202020204" pitchFamily="34" charset="0"/>
              <a:buChar char="•"/>
              <a:defRPr lang="en-US" sz="1599" kern="1200" spc="-50" dirty="0" smtClean="0">
                <a:solidFill>
                  <a:srgbClr val="FFFFFF"/>
                </a:solidFill>
                <a:latin typeface="Arial"/>
                <a:ea typeface="+mn-ea"/>
                <a:cs typeface="Arial"/>
              </a:defRPr>
            </a:lvl4pPr>
            <a:lvl5pPr marL="593825" indent="-228394">
              <a:buFont typeface="Arial"/>
              <a:buChar char="•"/>
              <a:defRPr sz="1399" spc="-10">
                <a:solidFill>
                  <a:schemeClr val="tx1">
                    <a:lumMod val="85000"/>
                    <a:lumOff val="15000"/>
                  </a:schemeClr>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Slide Number Placeholder 17"/>
          <p:cNvSpPr txBox="1">
            <a:spLocks/>
          </p:cNvSpPr>
          <p:nvPr userDrawn="1"/>
        </p:nvSpPr>
        <p:spPr>
          <a:xfrm>
            <a:off x="8741029" y="4958465"/>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599" smtClean="0">
                <a:solidFill>
                  <a:prstClr val="white">
                    <a:lumMod val="85000"/>
                  </a:prstClr>
                </a:solidFill>
              </a:rPr>
              <a:pPr algn="r"/>
              <a:t>‹#›</a:t>
            </a:fld>
            <a:endParaRPr lang="en-US" sz="599" dirty="0">
              <a:solidFill>
                <a:prstClr val="white">
                  <a:lumMod val="85000"/>
                </a:prstClr>
              </a:solidFill>
            </a:endParaRPr>
          </a:p>
        </p:txBody>
      </p:sp>
      <p:sp>
        <p:nvSpPr>
          <p:cNvPr id="10" name="Text Placeholder 2"/>
          <p:cNvSpPr>
            <a:spLocks noGrp="1"/>
          </p:cNvSpPr>
          <p:nvPr>
            <p:ph type="body" sz="quarter" idx="13" hasCustomPrompt="1"/>
          </p:nvPr>
        </p:nvSpPr>
        <p:spPr>
          <a:xfrm>
            <a:off x="3752850" y="581026"/>
            <a:ext cx="5391150" cy="420839"/>
          </a:xfrm>
          <a:prstGeom prst="rect">
            <a:avLst/>
          </a:prstGeom>
        </p:spPr>
        <p:txBody>
          <a:bodyPr anchor="t"/>
          <a:lstStyle>
            <a:lvl1pPr marL="0" indent="0" algn="ctr">
              <a:spcBef>
                <a:spcPts val="0"/>
              </a:spcBef>
              <a:buNone/>
              <a:defRPr sz="1099" b="1" spc="-20" baseline="0">
                <a:solidFill>
                  <a:schemeClr val="bg1"/>
                </a:solidFill>
              </a:defRPr>
            </a:lvl1pPr>
            <a:lvl2pPr marL="456789" indent="0">
              <a:buNone/>
              <a:defRPr sz="1199">
                <a:solidFill>
                  <a:schemeClr val="bg1"/>
                </a:solidFill>
              </a:defRPr>
            </a:lvl2pPr>
            <a:lvl3pPr marL="913577" indent="0">
              <a:buNone/>
              <a:defRPr sz="1199">
                <a:solidFill>
                  <a:schemeClr val="bg1"/>
                </a:solidFill>
              </a:defRPr>
            </a:lvl3pPr>
            <a:lvl4pPr marL="1370366" indent="0">
              <a:buNone/>
              <a:defRPr sz="1199">
                <a:solidFill>
                  <a:schemeClr val="bg1"/>
                </a:solidFill>
              </a:defRPr>
            </a:lvl4pPr>
            <a:lvl5pPr marL="1827154" indent="0">
              <a:buNone/>
              <a:defRPr sz="1199">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2742464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Insights BG - 2 Charts Horizontal">
    <p:spTree>
      <p:nvGrpSpPr>
        <p:cNvPr id="1" name=""/>
        <p:cNvGrpSpPr/>
        <p:nvPr/>
      </p:nvGrpSpPr>
      <p:grpSpPr>
        <a:xfrm>
          <a:off x="0" y="0"/>
          <a:ext cx="0" cy="0"/>
          <a:chOff x="0" y="0"/>
          <a:chExt cx="0" cy="0"/>
        </a:xfrm>
      </p:grpSpPr>
      <p:sp>
        <p:nvSpPr>
          <p:cNvPr id="9" name="Rectangle 8"/>
          <p:cNvSpPr/>
          <p:nvPr userDrawn="1"/>
        </p:nvSpPr>
        <p:spPr>
          <a:xfrm>
            <a:off x="3752850" y="2"/>
            <a:ext cx="539115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49" dirty="0">
              <a:solidFill>
                <a:prstClr val="white"/>
              </a:solidFill>
            </a:endParaRPr>
          </a:p>
        </p:txBody>
      </p:sp>
      <p:sp>
        <p:nvSpPr>
          <p:cNvPr id="14" name="Content Placeholder 18"/>
          <p:cNvSpPr>
            <a:spLocks noGrp="1"/>
          </p:cNvSpPr>
          <p:nvPr>
            <p:ph sz="quarter" idx="15" hasCustomPrompt="1"/>
          </p:nvPr>
        </p:nvSpPr>
        <p:spPr>
          <a:xfrm>
            <a:off x="3773322" y="3084052"/>
            <a:ext cx="5340096" cy="1828800"/>
          </a:xfrm>
          <a:prstGeom prst="rect">
            <a:avLst/>
          </a:prstGeom>
        </p:spPr>
        <p:txBody>
          <a:bodyPr vert="horz"/>
          <a:lstStyle>
            <a:lvl1pPr marL="0" indent="0">
              <a:buNone/>
              <a:defRPr lang="en-US" sz="1099" kern="1200" spc="0" dirty="0" smtClean="0">
                <a:solidFill>
                  <a:srgbClr val="FFFFFF"/>
                </a:solidFill>
                <a:latin typeface="Arial"/>
                <a:ea typeface="+mn-ea"/>
                <a:cs typeface="Arial"/>
              </a:defRPr>
            </a:lvl1pPr>
            <a:lvl2pPr marL="0" indent="-182715">
              <a:buFont typeface="Arial"/>
              <a:buChar char="•"/>
              <a:defRPr sz="1599" spc="-50">
                <a:solidFill>
                  <a:srgbClr val="FFFFFF"/>
                </a:solidFill>
                <a:latin typeface="Arial"/>
                <a:cs typeface="Arial"/>
              </a:defRPr>
            </a:lvl2pPr>
            <a:lvl3pPr marL="411110">
              <a:spcBef>
                <a:spcPts val="400"/>
              </a:spcBef>
              <a:defRPr sz="1599" spc="-50">
                <a:solidFill>
                  <a:srgbClr val="FFFFFF"/>
                </a:solidFill>
                <a:latin typeface="Arial"/>
                <a:cs typeface="Arial"/>
              </a:defRPr>
            </a:lvl3pPr>
            <a:lvl4pPr marL="502467" indent="-228394">
              <a:buFont typeface="Arial" panose="020B0604020202020204" pitchFamily="34" charset="0"/>
              <a:buChar char="•"/>
              <a:defRPr lang="en-US" sz="1599" kern="1200" spc="-50" dirty="0" smtClean="0">
                <a:solidFill>
                  <a:srgbClr val="FFFFFF"/>
                </a:solidFill>
                <a:latin typeface="Arial"/>
                <a:ea typeface="+mn-ea"/>
                <a:cs typeface="Arial"/>
              </a:defRPr>
            </a:lvl4pPr>
            <a:lvl5pPr marL="593825" indent="-228394">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sp>
        <p:nvSpPr>
          <p:cNvPr id="11" name="Content Placeholder 18"/>
          <p:cNvSpPr>
            <a:spLocks noGrp="1"/>
          </p:cNvSpPr>
          <p:nvPr>
            <p:ph sz="quarter" idx="12" hasCustomPrompt="1"/>
          </p:nvPr>
        </p:nvSpPr>
        <p:spPr>
          <a:xfrm>
            <a:off x="3773324" y="861369"/>
            <a:ext cx="5338873" cy="1828800"/>
          </a:xfrm>
          <a:prstGeom prst="rect">
            <a:avLst/>
          </a:prstGeom>
        </p:spPr>
        <p:txBody>
          <a:bodyPr vert="horz"/>
          <a:lstStyle>
            <a:lvl1pPr marL="0" indent="0">
              <a:buNone/>
              <a:defRPr sz="1099" spc="0">
                <a:solidFill>
                  <a:srgbClr val="FFFFFF"/>
                </a:solidFill>
                <a:latin typeface="Arial"/>
                <a:cs typeface="Arial"/>
              </a:defRPr>
            </a:lvl1pPr>
            <a:lvl2pPr marL="0" indent="-182715">
              <a:buFont typeface="Arial"/>
              <a:buChar char="•"/>
              <a:defRPr sz="1599" spc="-50">
                <a:solidFill>
                  <a:srgbClr val="FFFFFF"/>
                </a:solidFill>
                <a:latin typeface="Arial"/>
                <a:cs typeface="Arial"/>
              </a:defRPr>
            </a:lvl2pPr>
            <a:lvl3pPr marL="411110">
              <a:spcBef>
                <a:spcPts val="400"/>
              </a:spcBef>
              <a:defRPr sz="1599" spc="-50">
                <a:solidFill>
                  <a:srgbClr val="FFFFFF"/>
                </a:solidFill>
                <a:latin typeface="Arial"/>
                <a:cs typeface="Arial"/>
              </a:defRPr>
            </a:lvl3pPr>
            <a:lvl4pPr marL="502467" indent="-228394">
              <a:buFont typeface="Arial" panose="020B0604020202020204" pitchFamily="34" charset="0"/>
              <a:buChar char="•"/>
              <a:defRPr lang="en-US" sz="1599" kern="1200" spc="-50" dirty="0" smtClean="0">
                <a:solidFill>
                  <a:srgbClr val="FFFFFF"/>
                </a:solidFill>
                <a:latin typeface="Arial"/>
                <a:ea typeface="+mn-ea"/>
                <a:cs typeface="Arial"/>
              </a:defRPr>
            </a:lvl4pPr>
            <a:lvl5pPr marL="593825" indent="-228394">
              <a:buFont typeface="Arial"/>
              <a:buChar char="•"/>
              <a:defRPr sz="1399" spc="-10">
                <a:solidFill>
                  <a:schemeClr val="tx1">
                    <a:lumMod val="85000"/>
                    <a:lumOff val="15000"/>
                  </a:schemeClr>
                </a:solidFill>
                <a:latin typeface="Arial"/>
                <a:cs typeface="Arial"/>
              </a:defRPr>
            </a:lvl5pPr>
          </a:lstStyle>
          <a:p>
            <a:pPr lvl="0"/>
            <a:r>
              <a:rPr lang="en-US" dirty="0"/>
              <a:t>Click to add char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58200" y="367"/>
            <a:ext cx="603584" cy="555297"/>
          </a:xfrm>
          <a:prstGeom prst="rect">
            <a:avLst/>
          </a:prstGeom>
        </p:spPr>
      </p:pic>
      <p:sp>
        <p:nvSpPr>
          <p:cNvPr id="15" name="Title Placeholder 1"/>
          <p:cNvSpPr>
            <a:spLocks noGrp="1"/>
          </p:cNvSpPr>
          <p:nvPr>
            <p:ph type="title" hasCustomPrompt="1"/>
          </p:nvPr>
        </p:nvSpPr>
        <p:spPr>
          <a:xfrm>
            <a:off x="210679" y="258672"/>
            <a:ext cx="3395687" cy="742387"/>
          </a:xfrm>
          <a:prstGeom prst="rect">
            <a:avLst/>
          </a:prstGeom>
        </p:spPr>
        <p:txBody>
          <a:bodyPr vert="horz" lIns="91440" tIns="45720" rIns="91440" bIns="45720" rtlCol="0" anchor="t">
            <a:normAutofit/>
          </a:bodyPr>
          <a:lstStyle>
            <a:lvl1pPr>
              <a:defRPr sz="1798"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208895" y="1028701"/>
            <a:ext cx="3397907" cy="3929764"/>
          </a:xfrm>
          <a:prstGeom prst="rect">
            <a:avLst/>
          </a:prstGeom>
        </p:spPr>
        <p:txBody>
          <a:bodyPr vert="horz"/>
          <a:lstStyle>
            <a:lvl1pPr marL="0" indent="0">
              <a:lnSpc>
                <a:spcPts val="1499"/>
              </a:lnSpc>
              <a:spcBef>
                <a:spcPts val="0"/>
              </a:spcBef>
              <a:spcAft>
                <a:spcPts val="599"/>
              </a:spcAft>
              <a:buClr>
                <a:schemeClr val="accent1"/>
              </a:buClr>
              <a:buNone/>
              <a:defRPr sz="1199" spc="-30" baseline="0">
                <a:solidFill>
                  <a:schemeClr val="tx1">
                    <a:lumMod val="85000"/>
                    <a:lumOff val="15000"/>
                  </a:schemeClr>
                </a:solidFill>
                <a:latin typeface="Arial"/>
                <a:cs typeface="Arial"/>
              </a:defRPr>
            </a:lvl1pPr>
            <a:lvl2pPr marL="91358" indent="182715">
              <a:lnSpc>
                <a:spcPts val="1199"/>
              </a:lnSpc>
              <a:spcBef>
                <a:spcPts val="0"/>
              </a:spcBef>
              <a:spcAft>
                <a:spcPts val="300"/>
              </a:spcAft>
              <a:buClr>
                <a:schemeClr val="accent1"/>
              </a:buClr>
              <a:buFont typeface="Arial" panose="020B0604020202020204" pitchFamily="34" charset="0"/>
              <a:buChar char="•"/>
              <a:defRPr sz="1099" spc="-30" baseline="0">
                <a:solidFill>
                  <a:schemeClr val="tx1">
                    <a:lumMod val="85000"/>
                    <a:lumOff val="15000"/>
                  </a:schemeClr>
                </a:solidFill>
                <a:latin typeface="Arial"/>
                <a:cs typeface="Arial"/>
              </a:defRPr>
            </a:lvl2pPr>
            <a:lvl3pPr marL="91358" indent="182715">
              <a:lnSpc>
                <a:spcPts val="1698"/>
              </a:lnSpc>
              <a:spcBef>
                <a:spcPts val="0"/>
              </a:spcBef>
              <a:spcAft>
                <a:spcPts val="599"/>
              </a:spcAft>
              <a:buClr>
                <a:schemeClr val="accent1"/>
              </a:buClr>
              <a:defRPr sz="1299" spc="-30">
                <a:solidFill>
                  <a:schemeClr val="tx1">
                    <a:lumMod val="85000"/>
                    <a:lumOff val="15000"/>
                  </a:schemeClr>
                </a:solidFill>
                <a:latin typeface="Arial"/>
                <a:cs typeface="Arial"/>
              </a:defRPr>
            </a:lvl3pPr>
            <a:lvl4pPr marL="285493" indent="171296">
              <a:lnSpc>
                <a:spcPts val="1199"/>
              </a:lnSpc>
              <a:spcAft>
                <a:spcPts val="300"/>
              </a:spcAft>
              <a:buClr>
                <a:schemeClr val="accent1"/>
              </a:buClr>
              <a:buFont typeface="Arial" panose="020B0604020202020204" pitchFamily="34" charset="0"/>
              <a:buChar char="•"/>
              <a:defRPr sz="1099" spc="-30" baseline="0">
                <a:solidFill>
                  <a:schemeClr val="tx1">
                    <a:lumMod val="75000"/>
                    <a:lumOff val="25000"/>
                  </a:schemeClr>
                </a:solidFill>
                <a:latin typeface="Arial"/>
                <a:cs typeface="Arial"/>
              </a:defRPr>
            </a:lvl4pPr>
            <a:lvl5pPr marL="456789" indent="228394">
              <a:lnSpc>
                <a:spcPts val="1199"/>
              </a:lnSpc>
              <a:spcAft>
                <a:spcPts val="300"/>
              </a:spcAft>
              <a:buClr>
                <a:schemeClr val="accent1"/>
              </a:buClr>
              <a:buFont typeface="Arial" panose="020B0604020202020204" pitchFamily="34" charset="0"/>
              <a:buChar char="•"/>
              <a:defRPr sz="1099"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3" name="Slide Number Placeholder 17"/>
          <p:cNvSpPr txBox="1">
            <a:spLocks/>
          </p:cNvSpPr>
          <p:nvPr userDrawn="1"/>
        </p:nvSpPr>
        <p:spPr>
          <a:xfrm>
            <a:off x="8741029" y="4958465"/>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599" smtClean="0">
                <a:solidFill>
                  <a:prstClr val="white">
                    <a:lumMod val="85000"/>
                  </a:prstClr>
                </a:solidFill>
              </a:rPr>
              <a:pPr algn="r"/>
              <a:t>‹#›</a:t>
            </a:fld>
            <a:endParaRPr lang="en-US" sz="599" dirty="0">
              <a:solidFill>
                <a:prstClr val="white">
                  <a:lumMod val="85000"/>
                </a:prstClr>
              </a:solidFill>
            </a:endParaRPr>
          </a:p>
        </p:txBody>
      </p:sp>
      <p:sp>
        <p:nvSpPr>
          <p:cNvPr id="12" name="Text Placeholder 2"/>
          <p:cNvSpPr>
            <a:spLocks noGrp="1"/>
          </p:cNvSpPr>
          <p:nvPr>
            <p:ph type="body" sz="quarter" idx="13" hasCustomPrompt="1"/>
          </p:nvPr>
        </p:nvSpPr>
        <p:spPr>
          <a:xfrm>
            <a:off x="3752850" y="581026"/>
            <a:ext cx="5392286" cy="274320"/>
          </a:xfrm>
          <a:prstGeom prst="rect">
            <a:avLst/>
          </a:prstGeom>
        </p:spPr>
        <p:txBody>
          <a:bodyPr anchor="t"/>
          <a:lstStyle>
            <a:lvl1pPr marL="0" indent="0" algn="ctr">
              <a:spcBef>
                <a:spcPts val="0"/>
              </a:spcBef>
              <a:buNone/>
              <a:defRPr sz="1099" b="1" spc="-20" baseline="0">
                <a:solidFill>
                  <a:schemeClr val="bg1"/>
                </a:solidFill>
              </a:defRPr>
            </a:lvl1pPr>
            <a:lvl2pPr marL="456789" indent="0">
              <a:buNone/>
              <a:defRPr sz="1199">
                <a:solidFill>
                  <a:schemeClr val="bg1"/>
                </a:solidFill>
              </a:defRPr>
            </a:lvl2pPr>
            <a:lvl3pPr marL="913577" indent="0">
              <a:buNone/>
              <a:defRPr sz="1199">
                <a:solidFill>
                  <a:schemeClr val="bg1"/>
                </a:solidFill>
              </a:defRPr>
            </a:lvl3pPr>
            <a:lvl4pPr marL="1370366" indent="0">
              <a:buNone/>
              <a:defRPr sz="1199">
                <a:solidFill>
                  <a:schemeClr val="bg1"/>
                </a:solidFill>
              </a:defRPr>
            </a:lvl4pPr>
            <a:lvl5pPr marL="1827154" indent="0">
              <a:buNone/>
              <a:defRPr sz="1199">
                <a:solidFill>
                  <a:schemeClr val="bg1"/>
                </a:solidFill>
              </a:defRPr>
            </a:lvl5pPr>
          </a:lstStyle>
          <a:p>
            <a:pPr lvl="0"/>
            <a:r>
              <a:rPr lang="en-US" dirty="0"/>
              <a:t>Click To Edit Master Text Styles</a:t>
            </a:r>
          </a:p>
        </p:txBody>
      </p:sp>
      <p:sp>
        <p:nvSpPr>
          <p:cNvPr id="16" name="Text Placeholder 2"/>
          <p:cNvSpPr>
            <a:spLocks noGrp="1"/>
          </p:cNvSpPr>
          <p:nvPr>
            <p:ph type="body" sz="quarter" idx="16" hasCustomPrompt="1"/>
          </p:nvPr>
        </p:nvSpPr>
        <p:spPr>
          <a:xfrm>
            <a:off x="3752850" y="2796884"/>
            <a:ext cx="5392286" cy="274320"/>
          </a:xfrm>
          <a:prstGeom prst="rect">
            <a:avLst/>
          </a:prstGeom>
        </p:spPr>
        <p:txBody>
          <a:bodyPr anchor="t"/>
          <a:lstStyle>
            <a:lvl1pPr marL="0" indent="0" algn="ctr">
              <a:spcBef>
                <a:spcPts val="0"/>
              </a:spcBef>
              <a:buNone/>
              <a:defRPr sz="1099" b="1" spc="-20" baseline="0">
                <a:solidFill>
                  <a:schemeClr val="bg1"/>
                </a:solidFill>
              </a:defRPr>
            </a:lvl1pPr>
            <a:lvl2pPr marL="456789" indent="0">
              <a:buNone/>
              <a:defRPr sz="1199">
                <a:solidFill>
                  <a:schemeClr val="bg1"/>
                </a:solidFill>
              </a:defRPr>
            </a:lvl2pPr>
            <a:lvl3pPr marL="913577" indent="0">
              <a:buNone/>
              <a:defRPr sz="1199">
                <a:solidFill>
                  <a:schemeClr val="bg1"/>
                </a:solidFill>
              </a:defRPr>
            </a:lvl3pPr>
            <a:lvl4pPr marL="1370366" indent="0">
              <a:buNone/>
              <a:defRPr sz="1199">
                <a:solidFill>
                  <a:schemeClr val="bg1"/>
                </a:solidFill>
              </a:defRPr>
            </a:lvl4pPr>
            <a:lvl5pPr marL="1827154" indent="0">
              <a:buNone/>
              <a:defRPr sz="1199">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9514310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4"/>
            <a:ext cx="8534400" cy="3453577"/>
          </a:xfrm>
          <a:prstGeom prst="rect">
            <a:avLst/>
          </a:prstGeom>
          <a:effectLst/>
        </p:spPr>
        <p:txBody>
          <a:bodyPr vert="horz" lIns="91440" tIns="45720" rIns="91440" bIns="45720" rtlCol="0">
            <a:normAutofit/>
          </a:bodyPr>
          <a:lstStyle>
            <a:lvl1pPr marL="0" indent="0">
              <a:buNone/>
              <a:defRPr sz="1798" b="0"/>
            </a:lvl1pPr>
            <a:lvl2pPr>
              <a:defRPr sz="1599"/>
            </a:lvl2pPr>
            <a:lvl3pPr>
              <a:defRPr sz="1399"/>
            </a:lvl3pPr>
            <a:lvl4pPr>
              <a:defRPr sz="1399"/>
            </a:lvl4pPr>
            <a:lvl5pPr>
              <a:defRPr sz="13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50" y="4921781"/>
            <a:ext cx="290945" cy="220240"/>
          </a:xfrm>
          <a:prstGeom prst="rect">
            <a:avLst/>
          </a:prstGeom>
          <a:ln>
            <a:noFill/>
          </a:ln>
        </p:spPr>
        <p:txBody>
          <a:bodyPr/>
          <a:lstStyle>
            <a:lvl1pPr algn="ctr">
              <a:defRPr sz="599"/>
            </a:lvl1pPr>
          </a:lstStyle>
          <a:p>
            <a:fld id="{A34E5796-B6AC-4C80-ACD7-07B1272A6BDB}" type="slidenum">
              <a:rPr lang="en-US" smtClean="0"/>
              <a:pPr/>
              <a:t>‹#›</a:t>
            </a:fld>
            <a:endParaRPr lang="en-US"/>
          </a:p>
        </p:txBody>
      </p:sp>
      <p:sp>
        <p:nvSpPr>
          <p:cNvPr id="7" name="Title 5"/>
          <p:cNvSpPr txBox="1">
            <a:spLocks/>
          </p:cNvSpPr>
          <p:nvPr userDrawn="1"/>
        </p:nvSpPr>
        <p:spPr>
          <a:xfrm>
            <a:off x="8287632" y="35308"/>
            <a:ext cx="817646" cy="326642"/>
          </a:xfrm>
          <a:prstGeom prst="rect">
            <a:avLst/>
          </a:prstGeom>
          <a:ln>
            <a:solidFill>
              <a:srgbClr val="C00000"/>
            </a:solidFill>
          </a:ln>
        </p:spPr>
        <p:txBody>
          <a:bodyPr vert="horz" lIns="35967" rIns="35967"/>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r>
              <a:rPr lang="en-US" sz="1099" spc="0" dirty="0">
                <a:solidFill>
                  <a:schemeClr val="accent1"/>
                </a:solidFill>
                <a:latin typeface="Calibri" panose="020F0502020204030204" pitchFamily="34" charset="0"/>
              </a:rPr>
              <a:t> </a:t>
            </a:r>
            <a:r>
              <a:rPr lang="en-US" sz="899" spc="0" dirty="0">
                <a:solidFill>
                  <a:schemeClr val="accent1"/>
                </a:solidFill>
                <a:latin typeface="Calibri" panose="020F0502020204030204" pitchFamily="34" charset="0"/>
              </a:rPr>
              <a:t>Brand</a:t>
            </a:r>
          </a:p>
          <a:p>
            <a:r>
              <a:rPr lang="en-US" sz="899" spc="0" dirty="0">
                <a:solidFill>
                  <a:schemeClr val="accent1"/>
                </a:solidFill>
                <a:latin typeface="Calibri" panose="020F0502020204030204" pitchFamily="34" charset="0"/>
              </a:rPr>
              <a:t>Intelligence IL</a:t>
            </a:r>
          </a:p>
        </p:txBody>
      </p:sp>
    </p:spTree>
    <p:extLst>
      <p:ext uri="{BB962C8B-B14F-4D97-AF65-F5344CB8AC3E}">
        <p14:creationId xmlns:p14="http://schemas.microsoft.com/office/powerpoint/2010/main" val="266829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197"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4"/>
            <a:ext cx="8238066" cy="3403600"/>
          </a:xfrm>
          <a:prstGeom prst="rect">
            <a:avLst/>
          </a:prstGeom>
        </p:spPr>
        <p:txBody>
          <a:bodyPr vert="horz"/>
          <a:lstStyle>
            <a:lvl1pPr marL="274073" indent="-274073">
              <a:lnSpc>
                <a:spcPts val="2098"/>
              </a:lnSpc>
              <a:spcBef>
                <a:spcPts val="0"/>
              </a:spcBef>
              <a:spcAft>
                <a:spcPts val="599"/>
              </a:spcAft>
              <a:buClr>
                <a:schemeClr val="accent1"/>
              </a:buClr>
              <a:defRPr sz="1599" kern="0" spc="-20"/>
            </a:lvl1pPr>
            <a:lvl2pPr marL="365431" indent="-274073">
              <a:lnSpc>
                <a:spcPts val="2098"/>
              </a:lnSpc>
              <a:spcBef>
                <a:spcPts val="0"/>
              </a:spcBef>
              <a:spcAft>
                <a:spcPts val="599"/>
              </a:spcAft>
              <a:buClr>
                <a:schemeClr val="accent1"/>
              </a:buClr>
              <a:defRPr sz="1599" kern="0" spc="-20"/>
            </a:lvl2pPr>
            <a:lvl3pPr marL="548146" indent="-182715">
              <a:lnSpc>
                <a:spcPts val="2098"/>
              </a:lnSpc>
              <a:spcBef>
                <a:spcPts val="0"/>
              </a:spcBef>
              <a:spcAft>
                <a:spcPts val="599"/>
              </a:spcAft>
              <a:buClr>
                <a:schemeClr val="accent1"/>
              </a:buClr>
              <a:defRPr sz="1599"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985591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0"/>
            <a:ext cx="2011514" cy="1853031"/>
          </a:xfrm>
          <a:prstGeom prst="rect">
            <a:avLst/>
          </a:prstGeom>
        </p:spPr>
      </p:pic>
      <p:sp>
        <p:nvSpPr>
          <p:cNvPr id="21" name="Title 15"/>
          <p:cNvSpPr>
            <a:spLocks noGrp="1"/>
          </p:cNvSpPr>
          <p:nvPr>
            <p:ph type="title" hasCustomPrompt="1"/>
          </p:nvPr>
        </p:nvSpPr>
        <p:spPr>
          <a:xfrm>
            <a:off x="573517"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135765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113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51403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55471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493878"/>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31951"/>
            <a:ext cx="8540496" cy="246855"/>
          </a:xfrm>
          <a:prstGeom prst="rect">
            <a:avLst/>
          </a:prstGeom>
          <a:ln w="76200" cmpd="sng">
            <a:noFill/>
          </a:ln>
          <a:effectLst/>
        </p:spPr>
        <p:txBody>
          <a:bodyPr vert="horz" wrap="square" lIns="91440" tIns="0" rIns="0" bIns="0" rtlCol="0" anchor="b">
            <a:spAutoFit/>
          </a:bodyPr>
          <a:lstStyle>
            <a:lvl1pPr marL="342900" indent="-342900"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81562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91132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95309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1"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60692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69310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27502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0776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0"/>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5"/>
            <a:ext cx="5334000" cy="3022810"/>
          </a:xfrm>
          <a:prstGeom prst="rect">
            <a:avLst/>
          </a:prstGeom>
        </p:spPr>
        <p:txBody>
          <a:bodyPr anchor="t"/>
          <a:lstStyle>
            <a:lvl1pPr marL="0" marR="0" indent="0" algn="l" defTabSz="457200" rtl="0" eaLnBrk="1" fontAlgn="auto" latinLnBrk="0" hangingPunct="1">
              <a:lnSpc>
                <a:spcPct val="200000"/>
              </a:lnSpc>
              <a:spcBef>
                <a:spcPts val="0"/>
              </a:spcBef>
              <a:spcAft>
                <a:spcPts val="0"/>
              </a:spcAft>
              <a:buClr>
                <a:schemeClr val="accent3"/>
              </a:buClr>
              <a:buSzTx/>
              <a:buFont typeface="Wingdings" charset="2"/>
              <a:buNone/>
              <a:tabLst/>
              <a:defRPr/>
            </a:lvl1pPr>
            <a:lvl2pPr marL="336042" indent="0">
              <a:buNone/>
              <a:defRPr/>
            </a:lvl2pPr>
            <a:lvl3pPr marL="502920" indent="0">
              <a:buNone/>
              <a:defRPr/>
            </a:lvl3pPr>
            <a:lvl4pPr marL="685800" indent="0">
              <a:buNone/>
              <a:defRPr/>
            </a:lvl4pPr>
            <a:lvl5pPr marL="685800" indent="0">
              <a:buNone/>
              <a:defRPr/>
            </a:lvl5pPr>
          </a:lstStyle>
          <a:p>
            <a:pPr lvl="0"/>
            <a:r>
              <a:rPr lang="en-US" dirty="0"/>
              <a:t>Agenda Line Item 1</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6" y="-8355"/>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48373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lIns="91376" tIns="45688" rIns="91376" bIns="45688"/>
          <a:lstStyle>
            <a:lvl1pPr>
              <a:lnSpc>
                <a:spcPct val="80000"/>
              </a:lnSpc>
              <a:defRPr sz="4800"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54"/>
            <a:ext cx="8229600" cy="979487"/>
          </a:xfrm>
          <a:prstGeom prst="rect">
            <a:avLst/>
          </a:prstGeom>
        </p:spPr>
        <p:txBody>
          <a:bodyPr vert="horz" lIns="91376" tIns="45688" rIns="91376" bIns="45688"/>
          <a:lstStyle>
            <a:lvl1pPr marL="0" indent="0" algn="ctr">
              <a:buNone/>
              <a:defRPr sz="1800"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13246741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prstClr val="white"/>
              </a:solidFill>
            </a:endParaRP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1"/>
            <a:ext cx="2011514" cy="1853031"/>
          </a:xfrm>
          <a:prstGeom prst="rect">
            <a:avLst/>
          </a:prstGeom>
        </p:spPr>
      </p:pic>
      <p:sp>
        <p:nvSpPr>
          <p:cNvPr id="21" name="Title 15"/>
          <p:cNvSpPr>
            <a:spLocks noGrp="1"/>
          </p:cNvSpPr>
          <p:nvPr>
            <p:ph type="title" hasCustomPrompt="1"/>
          </p:nvPr>
        </p:nvSpPr>
        <p:spPr>
          <a:xfrm>
            <a:off x="573518"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325777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1"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48607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5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2276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2" y="493879"/>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01807"/>
            <a:ext cx="8540496" cy="276999"/>
          </a:xfrm>
          <a:prstGeom prst="rect">
            <a:avLst/>
          </a:prstGeom>
          <a:ln w="76200" cmpd="sng">
            <a:noFill/>
          </a:ln>
          <a:effectLst/>
        </p:spPr>
        <p:txBody>
          <a:bodyPr vert="horz" wrap="square" lIns="91440" tIns="0" rIns="0" bIns="0" rtlCol="0" anchor="b">
            <a:spAutoFit/>
          </a:bodyPr>
          <a:lstStyle>
            <a:lvl1pPr marL="342892" indent="-342892"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1980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4"/>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649082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1"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698560"/>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7894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76" indent="-285743">
              <a:buFont typeface="Arial" panose="020B0604020202020204" pitchFamily="34" charset="0"/>
              <a:buChar char="•"/>
              <a:defRPr sz="1600"/>
            </a:lvl2pPr>
            <a:lvl3pPr marL="731502" indent="-228594">
              <a:buFont typeface="Arial" panose="020B0604020202020204" pitchFamily="34" charset="0"/>
              <a:buChar char="•"/>
              <a:defRPr sz="1400"/>
            </a:lvl3pPr>
            <a:lvl4pPr marL="914378" indent="-228594">
              <a:buFont typeface="Arial" panose="020B0604020202020204" pitchFamily="34" charset="0"/>
              <a:buChar char="•"/>
              <a:defRPr sz="1400"/>
            </a:lvl4pPr>
            <a:lvl5pPr marL="914378" indent="-228594">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2" y="209551"/>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2"/>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76" indent="-285743">
              <a:buFont typeface="Arial" panose="020B0604020202020204" pitchFamily="34" charset="0"/>
              <a:buChar char="•"/>
              <a:defRPr/>
            </a:lvl2pPr>
            <a:lvl3pPr marL="731502" indent="-228594">
              <a:buFont typeface="Arial" panose="020B0604020202020204" pitchFamily="34" charset="0"/>
              <a:buChar char="•"/>
              <a:defRPr/>
            </a:lvl3pPr>
            <a:lvl4pPr marL="914378" indent="-228594">
              <a:buFont typeface="Arial" panose="020B0604020202020204" pitchFamily="34" charset="0"/>
              <a:buChar char="•"/>
              <a:defRPr/>
            </a:lvl4pPr>
            <a:lvl5pPr marL="914378" indent="-228594">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7718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0893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6301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1"/>
            <a:ext cx="9144000" cy="803564"/>
          </a:xfrm>
          <a:prstGeom prst="rect">
            <a:avLst/>
          </a:prstGeom>
        </p:spPr>
        <p:txBody>
          <a:bodyPr anchor="ctr"/>
          <a:lstStyle>
            <a:lvl1pPr marL="0" indent="0" algn="ctr">
              <a:buNone/>
              <a:defRPr sz="4800" b="1" spc="-150" baseline="0">
                <a:solidFill>
                  <a:schemeClr val="accent3"/>
                </a:solidFill>
              </a:defRPr>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9"/>
            <a:ext cx="9144000" cy="346364"/>
          </a:xfrm>
          <a:prstGeom prst="rect">
            <a:avLst/>
          </a:prstGeom>
        </p:spPr>
        <p:txBody>
          <a:bodyPr/>
          <a:lstStyle>
            <a:lvl1pPr marL="0" indent="0" algn="ctr">
              <a:buNone/>
              <a:defRPr sz="1600" baseline="0"/>
            </a:lvl1pPr>
            <a:lvl2pPr marL="336034" indent="0" algn="ctr">
              <a:buNone/>
              <a:defRPr/>
            </a:lvl2pPr>
            <a:lvl3pPr marL="502907" indent="0" algn="ctr">
              <a:buNone/>
              <a:defRPr/>
            </a:lvl3pPr>
            <a:lvl4pPr marL="685783" indent="0" algn="ctr">
              <a:buNone/>
              <a:defRPr/>
            </a:lvl4pPr>
            <a:lvl5pPr marL="685783"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0572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1"/>
            <a:ext cx="2209800" cy="800219"/>
          </a:xfrm>
          <a:prstGeom prst="rect">
            <a:avLst/>
          </a:prstGeom>
          <a:noFill/>
        </p:spPr>
        <p:txBody>
          <a:bodyPr wrap="square" lIns="182880" tIns="91440" rIns="182880" bIns="91440" rtlCol="0">
            <a:spAutoFit/>
          </a:bodyPr>
          <a:lstStyle/>
          <a:p>
            <a:r>
              <a:rPr lang="en-US" sz="4000" b="1" spc="-50" dirty="0">
                <a:solidFill>
                  <a:prstClr val="black"/>
                </a:solidFill>
                <a:cs typeface="Arial"/>
              </a:rPr>
              <a:t>Agenda</a:t>
            </a:r>
            <a:endParaRPr lang="en-US" sz="2400" b="1" spc="-50" dirty="0">
              <a:solidFill>
                <a:prstClr val="black"/>
              </a:solidFil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6"/>
            <a:ext cx="5334000" cy="3022810"/>
          </a:xfrm>
          <a:prstGeom prst="rect">
            <a:avLst/>
          </a:prstGeom>
        </p:spPr>
        <p:txBody>
          <a:bodyPr anchor="t"/>
          <a:lstStyle>
            <a:lvl1pPr marL="0" marR="0" indent="0" algn="l" defTabSz="457189" rtl="0" eaLnBrk="1" fontAlgn="auto" latinLnBrk="0" hangingPunct="1">
              <a:lnSpc>
                <a:spcPct val="200000"/>
              </a:lnSpc>
              <a:spcBef>
                <a:spcPts val="0"/>
              </a:spcBef>
              <a:spcAft>
                <a:spcPts val="0"/>
              </a:spcAft>
              <a:buClr>
                <a:schemeClr val="accent3"/>
              </a:buClr>
              <a:buSzTx/>
              <a:buFont typeface="Wingdings" charset="2"/>
              <a:buNone/>
              <a:tabLst/>
              <a:defRPr/>
            </a:lvl1pPr>
            <a:lvl2pPr marL="336034" indent="0">
              <a:buNone/>
              <a:defRPr/>
            </a:lvl2pPr>
            <a:lvl3pPr marL="502907" indent="0">
              <a:buNone/>
              <a:defRPr/>
            </a:lvl3pPr>
            <a:lvl4pPr marL="685783" indent="0">
              <a:buNone/>
              <a:defRPr/>
            </a:lvl4pPr>
            <a:lvl5pPr marL="685783" indent="0">
              <a:buNone/>
              <a:defRPr/>
            </a:lvl5pPr>
          </a:lstStyle>
          <a:p>
            <a:pPr lvl="0"/>
            <a:r>
              <a:rPr lang="en-US" dirty="0"/>
              <a:t>Agenda Line Item 1</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189"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5" y="-8354"/>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prstClr val="white"/>
              </a:solidFill>
            </a:endParaRPr>
          </a:p>
        </p:txBody>
      </p:sp>
      <p:sp>
        <p:nvSpPr>
          <p:cNvPr id="11" name="Slide Number Placeholder 17"/>
          <p:cNvSpPr>
            <a:spLocks noGrp="1"/>
          </p:cNvSpPr>
          <p:nvPr>
            <p:ph type="sldNum" sz="quarter" idx="12"/>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2257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58599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6C06D18-DE86-BD4D-A169-1B5FE6A953FB}" type="datetimeFigureOut">
              <a:rPr lang="en-US">
                <a:solidFill>
                  <a:prstClr val="black"/>
                </a:solidFill>
              </a:rPr>
              <a:pPr/>
              <a:t>22/04/18</a:t>
            </a:fld>
            <a:endParaRPr lang="en-US">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0BCCE288-166A-6C47-8FDA-6A6F8AD7A86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618207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3"/>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5"/>
            <a:ext cx="8238066" cy="3403600"/>
          </a:xfrm>
          <a:prstGeom prst="rect">
            <a:avLst/>
          </a:prstGeom>
        </p:spPr>
        <p:txBody>
          <a:bodyPr vert="horz"/>
          <a:lstStyle>
            <a:lvl1pPr marL="274313" indent="-274313">
              <a:lnSpc>
                <a:spcPts val="2100"/>
              </a:lnSpc>
              <a:spcBef>
                <a:spcPts val="0"/>
              </a:spcBef>
              <a:spcAft>
                <a:spcPts val="600"/>
              </a:spcAft>
              <a:buClr>
                <a:schemeClr val="accent1"/>
              </a:buClr>
              <a:defRPr sz="1600" kern="0" spc="-20"/>
            </a:lvl1pPr>
            <a:lvl2pPr marL="365751" indent="-274313">
              <a:lnSpc>
                <a:spcPts val="2100"/>
              </a:lnSpc>
              <a:spcBef>
                <a:spcPts val="0"/>
              </a:spcBef>
              <a:spcAft>
                <a:spcPts val="600"/>
              </a:spcAft>
              <a:buClr>
                <a:schemeClr val="accent1"/>
              </a:buClr>
              <a:defRPr sz="1600" kern="0" spc="-20"/>
            </a:lvl2pPr>
            <a:lvl3pPr marL="548627" indent="-182876">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60933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lIns="91376" tIns="45688" rIns="91376" bIns="45688"/>
          <a:lstStyle>
            <a:lvl1pPr>
              <a:lnSpc>
                <a:spcPct val="80000"/>
              </a:lnSpc>
              <a:defRPr sz="4800"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55"/>
            <a:ext cx="8229600" cy="979487"/>
          </a:xfrm>
          <a:prstGeom prst="rect">
            <a:avLst/>
          </a:prstGeom>
        </p:spPr>
        <p:txBody>
          <a:bodyPr vert="horz" lIns="91376" tIns="45688" rIns="91376" bIns="45688"/>
          <a:lstStyle>
            <a:lvl1pPr marL="0" indent="0" algn="ctr">
              <a:buNone/>
              <a:defRPr sz="1800"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24167997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a:prstGeom prst="rect">
            <a:avLst/>
          </a:prstGeo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9B5ACB06-3CB9-480F-865A-A9E0F9AB49F9}" type="datetimeFigureOut">
              <a:rPr lang="en-US">
                <a:solidFill>
                  <a:prstClr val="black">
                    <a:tint val="75000"/>
                  </a:prstClr>
                </a:solidFill>
              </a:rPr>
              <a:pPr/>
              <a:t>22/04/18</a:t>
            </a:fld>
            <a:endParaRPr lang="en-US">
              <a:solidFill>
                <a:prstClr val="black">
                  <a:tint val="75000"/>
                </a:prstClr>
              </a:solidFill>
            </a:endParaRPr>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4661775B-D36D-4628-9EEA-86B3FCEAAE2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857343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Insights BG">
    <p:spTree>
      <p:nvGrpSpPr>
        <p:cNvPr id="1" name=""/>
        <p:cNvGrpSpPr/>
        <p:nvPr/>
      </p:nvGrpSpPr>
      <p:grpSpPr>
        <a:xfrm>
          <a:off x="0" y="0"/>
          <a:ext cx="0" cy="0"/>
          <a:chOff x="0" y="0"/>
          <a:chExt cx="0" cy="0"/>
        </a:xfrm>
      </p:grpSpPr>
      <p:sp>
        <p:nvSpPr>
          <p:cNvPr id="9" name="Rectangle 8"/>
          <p:cNvSpPr/>
          <p:nvPr userDrawn="1"/>
        </p:nvSpPr>
        <p:spPr>
          <a:xfrm>
            <a:off x="3752850" y="2"/>
            <a:ext cx="539115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5" name="Title Placeholder 1"/>
          <p:cNvSpPr>
            <a:spLocks noGrp="1"/>
          </p:cNvSpPr>
          <p:nvPr>
            <p:ph type="title" hasCustomPrompt="1"/>
          </p:nvPr>
        </p:nvSpPr>
        <p:spPr>
          <a:xfrm>
            <a:off x="210678" y="258673"/>
            <a:ext cx="3395687" cy="742387"/>
          </a:xfrm>
          <a:prstGeom prst="rect">
            <a:avLst/>
          </a:prstGeom>
        </p:spPr>
        <p:txBody>
          <a:bodyPr vert="horz" lIns="91440" tIns="45720" rIns="91440" bIns="45720" rtlCol="0" anchor="t">
            <a:normAutofit/>
          </a:bodyPr>
          <a:lstStyle>
            <a:lvl1pPr>
              <a:defRPr sz="1800"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208894" y="1028700"/>
            <a:ext cx="3397907" cy="3929764"/>
          </a:xfrm>
          <a:prstGeom prst="rect">
            <a:avLst/>
          </a:prstGeom>
        </p:spPr>
        <p:txBody>
          <a:bodyPr vert="horz"/>
          <a:lstStyle>
            <a:lvl1pPr marL="0" indent="0">
              <a:lnSpc>
                <a:spcPts val="1500"/>
              </a:lnSpc>
              <a:spcBef>
                <a:spcPts val="0"/>
              </a:spcBef>
              <a:spcAft>
                <a:spcPts val="600"/>
              </a:spcAft>
              <a:buClr>
                <a:schemeClr val="accent1"/>
              </a:buClr>
              <a:buNone/>
              <a:defRPr sz="1200" spc="-30" baseline="0">
                <a:solidFill>
                  <a:schemeClr val="tx1">
                    <a:lumMod val="85000"/>
                    <a:lumOff val="15000"/>
                  </a:schemeClr>
                </a:solidFill>
                <a:latin typeface="Arial"/>
                <a:cs typeface="Arial"/>
              </a:defRPr>
            </a:lvl1pPr>
            <a:lvl2pPr marL="91438" indent="182876">
              <a:lnSpc>
                <a:spcPts val="1700"/>
              </a:lnSpc>
              <a:spcBef>
                <a:spcPts val="0"/>
              </a:spcBef>
              <a:spcAft>
                <a:spcPts val="300"/>
              </a:spcAft>
              <a:buClr>
                <a:schemeClr val="accent1"/>
              </a:buClr>
              <a:buFont typeface="Arial" panose="020B0604020202020204" pitchFamily="34" charset="0"/>
              <a:buChar char="•"/>
              <a:defRPr sz="1200" spc="-30" baseline="0">
                <a:solidFill>
                  <a:schemeClr val="tx1">
                    <a:lumMod val="85000"/>
                    <a:lumOff val="15000"/>
                  </a:schemeClr>
                </a:solidFill>
                <a:latin typeface="Arial"/>
                <a:cs typeface="Arial"/>
              </a:defRPr>
            </a:lvl2pPr>
            <a:lvl3pPr marL="91438" indent="182876">
              <a:lnSpc>
                <a:spcPts val="1700"/>
              </a:lnSpc>
              <a:spcBef>
                <a:spcPts val="0"/>
              </a:spcBef>
              <a:spcAft>
                <a:spcPts val="600"/>
              </a:spcAft>
              <a:buClr>
                <a:schemeClr val="accent1"/>
              </a:buClr>
              <a:defRPr sz="1300" spc="-30">
                <a:solidFill>
                  <a:schemeClr val="tx1">
                    <a:lumMod val="85000"/>
                    <a:lumOff val="15000"/>
                  </a:schemeClr>
                </a:solidFill>
                <a:latin typeface="Arial"/>
                <a:cs typeface="Arial"/>
              </a:defRPr>
            </a:lvl3pPr>
            <a:lvl4pPr marL="285743" indent="171446">
              <a:spcAft>
                <a:spcPts val="300"/>
              </a:spcAft>
              <a:buClr>
                <a:schemeClr val="accent1"/>
              </a:buClr>
              <a:buFont typeface="Arial" panose="020B0604020202020204" pitchFamily="34" charset="0"/>
              <a:buChar char="•"/>
              <a:defRPr sz="1200" spc="-30" baseline="0">
                <a:solidFill>
                  <a:schemeClr val="tx1">
                    <a:lumMod val="75000"/>
                    <a:lumOff val="25000"/>
                  </a:schemeClr>
                </a:solidFill>
                <a:latin typeface="Arial"/>
                <a:cs typeface="Arial"/>
              </a:defRPr>
            </a:lvl4pPr>
            <a:lvl5pPr marL="457189" indent="228594">
              <a:spcAft>
                <a:spcPts val="300"/>
              </a:spcAft>
              <a:buClr>
                <a:schemeClr val="accent1"/>
              </a:buClr>
              <a:buFont typeface="Arial" panose="020B0604020202020204" pitchFamily="34" charset="0"/>
              <a:buChar char="•"/>
              <a:defRPr sz="1200"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1" name="Content Placeholder 18"/>
          <p:cNvSpPr>
            <a:spLocks noGrp="1"/>
          </p:cNvSpPr>
          <p:nvPr>
            <p:ph sz="quarter" idx="12"/>
          </p:nvPr>
        </p:nvSpPr>
        <p:spPr>
          <a:xfrm>
            <a:off x="3842385" y="995364"/>
            <a:ext cx="5212080" cy="3963100"/>
          </a:xfrm>
          <a:prstGeom prst="rect">
            <a:avLst/>
          </a:prstGeom>
        </p:spPr>
        <p:txBody>
          <a:bodyPr vert="horz"/>
          <a:lstStyle>
            <a:lvl1pPr marL="0" indent="0">
              <a:buNone/>
              <a:defRPr sz="1600" spc="-50">
                <a:solidFill>
                  <a:srgbClr val="FFFFFF"/>
                </a:solidFill>
                <a:latin typeface="Arial"/>
                <a:cs typeface="Arial"/>
              </a:defRPr>
            </a:lvl1pPr>
            <a:lvl2pPr marL="0" indent="-182876">
              <a:buFont typeface="Arial"/>
              <a:buChar char="•"/>
              <a:defRPr sz="1600" spc="-50">
                <a:solidFill>
                  <a:srgbClr val="FFFFFF"/>
                </a:solidFill>
                <a:latin typeface="Arial"/>
                <a:cs typeface="Arial"/>
              </a:defRPr>
            </a:lvl2pPr>
            <a:lvl3pPr marL="411470">
              <a:spcBef>
                <a:spcPts val="400"/>
              </a:spcBef>
              <a:defRPr sz="1600" spc="-50">
                <a:solidFill>
                  <a:srgbClr val="FFFFFF"/>
                </a:solidFill>
                <a:latin typeface="Arial"/>
                <a:cs typeface="Arial"/>
              </a:defRPr>
            </a:lvl3pPr>
            <a:lvl4pPr marL="502907" indent="-228594">
              <a:buFont typeface="Arial" panose="020B0604020202020204" pitchFamily="34" charset="0"/>
              <a:buChar char="•"/>
              <a:defRPr lang="en-US" sz="1600" kern="1200" spc="-50" dirty="0" smtClean="0">
                <a:solidFill>
                  <a:srgbClr val="FFFFFF"/>
                </a:solidFill>
                <a:latin typeface="Arial"/>
                <a:ea typeface="+mn-ea"/>
                <a:cs typeface="Arial"/>
              </a:defRPr>
            </a:lvl4pPr>
            <a:lvl5pPr marL="594345" indent="-228594">
              <a:buFont typeface="Arial"/>
              <a:buChar char="•"/>
              <a:defRPr sz="1400" spc="-10">
                <a:solidFill>
                  <a:schemeClr val="tx1">
                    <a:lumMod val="85000"/>
                    <a:lumOff val="15000"/>
                  </a:schemeClr>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Slide Number Placeholder 17"/>
          <p:cNvSpPr txBox="1">
            <a:spLocks/>
          </p:cNvSpPr>
          <p:nvPr userDrawn="1"/>
        </p:nvSpPr>
        <p:spPr>
          <a:xfrm>
            <a:off x="8741028" y="4958465"/>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600" smtClean="0">
                <a:solidFill>
                  <a:prstClr val="white">
                    <a:lumMod val="85000"/>
                  </a:prstClr>
                </a:solidFill>
              </a:rPr>
              <a:pPr algn="r"/>
              <a:t>‹#›</a:t>
            </a:fld>
            <a:endParaRPr lang="en-US" sz="600" dirty="0">
              <a:solidFill>
                <a:prstClr val="white">
                  <a:lumMod val="85000"/>
                </a:prstClr>
              </a:solidFill>
            </a:endParaRPr>
          </a:p>
        </p:txBody>
      </p:sp>
      <p:sp>
        <p:nvSpPr>
          <p:cNvPr id="10" name="Text Placeholder 2"/>
          <p:cNvSpPr>
            <a:spLocks noGrp="1"/>
          </p:cNvSpPr>
          <p:nvPr>
            <p:ph type="body" sz="quarter" idx="13" hasCustomPrompt="1"/>
          </p:nvPr>
        </p:nvSpPr>
        <p:spPr>
          <a:xfrm>
            <a:off x="3752850" y="581026"/>
            <a:ext cx="5391150" cy="420839"/>
          </a:xfrm>
          <a:prstGeom prst="rect">
            <a:avLst/>
          </a:prstGeom>
        </p:spPr>
        <p:txBody>
          <a:bodyPr anchor="t"/>
          <a:lstStyle>
            <a:lvl1pPr marL="0" indent="0" algn="ctr">
              <a:spcBef>
                <a:spcPts val="0"/>
              </a:spcBef>
              <a:buNone/>
              <a:defRPr sz="1100" b="1" spc="-20" baseline="0">
                <a:solidFill>
                  <a:schemeClr val="bg1"/>
                </a:solidFill>
              </a:defRPr>
            </a:lvl1pPr>
            <a:lvl2pPr marL="457189" indent="0">
              <a:buNone/>
              <a:defRPr sz="1200">
                <a:solidFill>
                  <a:schemeClr val="bg1"/>
                </a:solidFill>
              </a:defRPr>
            </a:lvl2pPr>
            <a:lvl3pPr marL="914378" indent="0">
              <a:buNone/>
              <a:defRPr sz="1200">
                <a:solidFill>
                  <a:schemeClr val="bg1"/>
                </a:solidFill>
              </a:defRPr>
            </a:lvl3pPr>
            <a:lvl4pPr marL="1371566" indent="0">
              <a:buNone/>
              <a:defRPr sz="1200">
                <a:solidFill>
                  <a:schemeClr val="bg1"/>
                </a:solidFill>
              </a:defRPr>
            </a:lvl4pPr>
            <a:lvl5pPr marL="1828754" indent="0">
              <a:buNone/>
              <a:defRPr sz="1200">
                <a:solidFill>
                  <a:schemeClr val="bg1"/>
                </a:solidFill>
              </a:defRPr>
            </a:lvl5pPr>
          </a:lstStyle>
          <a:p>
            <a:pPr lvl="0"/>
            <a:r>
              <a:rPr lang="en-US" dirty="0"/>
              <a:t>Click To Edit Master Text Styles</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58200" y="-8889"/>
            <a:ext cx="466330" cy="466762"/>
          </a:xfrm>
          <a:prstGeom prst="rect">
            <a:avLst/>
          </a:prstGeom>
        </p:spPr>
      </p:pic>
    </p:spTree>
    <p:extLst>
      <p:ext uri="{BB962C8B-B14F-4D97-AF65-F5344CB8AC3E}">
        <p14:creationId xmlns:p14="http://schemas.microsoft.com/office/powerpoint/2010/main" val="25323378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p:nvSpPr>
        <p:spPr>
          <a:xfrm>
            <a:off x="5687786" y="593587"/>
            <a:ext cx="2980468" cy="1477736"/>
          </a:xfrm>
          <a:prstGeom prst="rect">
            <a:avLst/>
          </a:prstGeom>
          <a:noFill/>
          <a:ln w="762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9" name="Picture 18" descr="amobee_logo_lockup_red_300dpi.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25520" y="0"/>
            <a:ext cx="2011514" cy="1853031"/>
          </a:xfrm>
          <a:prstGeom prst="rect">
            <a:avLst/>
          </a:prstGeom>
        </p:spPr>
      </p:pic>
      <p:sp>
        <p:nvSpPr>
          <p:cNvPr id="21" name="Title 15"/>
          <p:cNvSpPr>
            <a:spLocks noGrp="1"/>
          </p:cNvSpPr>
          <p:nvPr>
            <p:ph type="title" hasCustomPrompt="1"/>
          </p:nvPr>
        </p:nvSpPr>
        <p:spPr>
          <a:xfrm>
            <a:off x="573517" y="2177796"/>
            <a:ext cx="7996967" cy="393954"/>
          </a:xfrm>
          <a:prstGeom prst="rect">
            <a:avLst/>
          </a:prstGeom>
          <a:ln w="76200" cmpd="sng">
            <a:noFill/>
          </a:ln>
        </p:spPr>
        <p:txBody>
          <a:bodyPr wrap="square" lIns="0" tIns="0" rIns="0" bIns="0" anchor="ctr">
            <a:spAutoFit/>
          </a:bodyPr>
          <a:lstStyle>
            <a:lvl1pPr algn="ctr">
              <a:lnSpc>
                <a:spcPct val="80000"/>
              </a:lnSpc>
              <a:defRPr lang="en-US" sz="3200" b="1" kern="1200" spc="-50" baseline="0" dirty="0">
                <a:solidFill>
                  <a:schemeClr val="bg1"/>
                </a:solidFill>
                <a:effectLst/>
                <a:latin typeface="+mj-lt"/>
                <a:ea typeface="+mj-ea"/>
                <a:cs typeface="+mj-cs"/>
              </a:defRPr>
            </a:lvl1pPr>
          </a:lstStyle>
          <a:p>
            <a:r>
              <a:rPr lang="en-US" dirty="0"/>
              <a:t>Click To Edit Master Title Style  </a:t>
            </a:r>
          </a:p>
        </p:txBody>
      </p:sp>
    </p:spTree>
    <p:extLst>
      <p:ext uri="{BB962C8B-B14F-4D97-AF65-F5344CB8AC3E}">
        <p14:creationId xmlns:p14="http://schemas.microsoft.com/office/powerpoint/2010/main" val="226621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
        <p:nvSpPr>
          <p:cNvPr id="5" name="Title Placeholder 1"/>
          <p:cNvSpPr>
            <a:spLocks noGrp="1"/>
          </p:cNvSpPr>
          <p:nvPr>
            <p:ph type="title"/>
          </p:nvPr>
        </p:nvSpPr>
        <p:spPr>
          <a:xfrm>
            <a:off x="304800" y="333990"/>
            <a:ext cx="8534400" cy="512064"/>
          </a:xfrm>
          <a:prstGeom prst="rect">
            <a:avLst/>
          </a:prstGeom>
          <a:effectLst/>
        </p:spPr>
        <p:txBody>
          <a:bodyPr vert="horz" lIns="91440" tIns="45720" rIns="91440" bIns="45720" rtlCol="0" anchor="b">
            <a:normAutofit/>
          </a:bodyPr>
          <a:lstStyle/>
          <a:p>
            <a:r>
              <a:rPr lang="en-US" dirty="0"/>
              <a:t>Click To Edit Master Title Style</a:t>
            </a:r>
          </a:p>
        </p:txBody>
      </p:sp>
      <p:sp>
        <p:nvSpPr>
          <p:cNvPr id="6" name="Text Placeholder 2"/>
          <p:cNvSpPr>
            <a:spLocks noGrp="1"/>
          </p:cNvSpPr>
          <p:nvPr>
            <p:ph idx="1"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5504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2 Line Titl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304800" y="232636"/>
            <a:ext cx="8534400" cy="857250"/>
          </a:xfrm>
          <a:prstGeom prst="rect">
            <a:avLst/>
          </a:prstGeom>
          <a:effectLst/>
        </p:spPr>
        <p:txBody>
          <a:bodyPr vert="horz" lIns="91440" tIns="45720" rIns="91440" bIns="45720" rtlCol="0" anchor="b">
            <a:normAutofit/>
          </a:bodyPr>
          <a:lstStyle>
            <a:lvl1pPr>
              <a:defRPr baseline="0"/>
            </a:lvl1pPr>
          </a:lstStyle>
          <a:p>
            <a:r>
              <a:rPr lang="en-US" dirty="0"/>
              <a:t>Click To Edit Master Title Style With Two Lines of Copy</a:t>
            </a:r>
          </a:p>
        </p:txBody>
      </p:sp>
      <p:sp>
        <p:nvSpPr>
          <p:cNvPr id="8" name="Text Placeholder 2"/>
          <p:cNvSpPr>
            <a:spLocks noGrp="1"/>
          </p:cNvSpPr>
          <p:nvPr>
            <p:ph idx="13" hasCustomPrompt="1"/>
          </p:nvPr>
        </p:nvSpPr>
        <p:spPr>
          <a:xfrm>
            <a:off x="304800" y="117557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23333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and Top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1" y="493878"/>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231951"/>
            <a:ext cx="8540496" cy="246855"/>
          </a:xfrm>
          <a:prstGeom prst="rect">
            <a:avLst/>
          </a:prstGeom>
          <a:ln w="76200" cmpd="sng">
            <a:noFill/>
          </a:ln>
          <a:effectLst/>
        </p:spPr>
        <p:txBody>
          <a:bodyPr vert="horz" wrap="square" lIns="91440" tIns="0" rIns="0" bIns="0" rtlCol="0" anchor="b">
            <a:spAutoFit/>
          </a:bodyPr>
          <a:lstStyle>
            <a:lvl1pPr marL="342900" indent="-342900" algn="l">
              <a:buNone/>
              <a:defRPr lang="en-US" sz="1800" b="1" dirty="0">
                <a:solidFill>
                  <a:schemeClr val="accent3"/>
                </a:solidFill>
              </a:defRPr>
            </a:lvl1pPr>
          </a:lstStyle>
          <a:p>
            <a:pPr marL="0" lvl="0" indent="0"/>
            <a:r>
              <a:rPr lang="en-US" dirty="0"/>
              <a:t>Click To Edit Master Top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187981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and Bottom SubHead">
    <p:spTree>
      <p:nvGrpSpPr>
        <p:cNvPr id="1" name=""/>
        <p:cNvGrpSpPr/>
        <p:nvPr/>
      </p:nvGrpSpPr>
      <p:grpSpPr>
        <a:xfrm>
          <a:off x="0" y="0"/>
          <a:ext cx="0" cy="0"/>
          <a:chOff x="0" y="0"/>
          <a:chExt cx="0" cy="0"/>
        </a:xfrm>
      </p:grpSpPr>
      <p:sp>
        <p:nvSpPr>
          <p:cNvPr id="22"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3" hasCustomPrompt="1"/>
          </p:nvPr>
        </p:nvSpPr>
        <p:spPr>
          <a:xfrm>
            <a:off x="304800" y="1141283"/>
            <a:ext cx="8534400" cy="3453577"/>
          </a:xfrm>
          <a:prstGeom prst="rect">
            <a:avLst/>
          </a:prstGeom>
          <a:effectLst/>
        </p:spPr>
        <p:txBody>
          <a:bodyPr vert="horz" lIns="91440" tIns="45720" rIns="91440" bIns="45720" rtlCol="0">
            <a:normAutofit/>
          </a:bodyPr>
          <a:lstStyle>
            <a:lvl1pPr marL="0" indent="0">
              <a:buNone/>
              <a:defRPr sz="1800" b="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269015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7781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ext and Chart Layout1">
    <p:spTree>
      <p:nvGrpSpPr>
        <p:cNvPr id="1" name=""/>
        <p:cNvGrpSpPr/>
        <p:nvPr/>
      </p:nvGrpSpPr>
      <p:grpSpPr>
        <a:xfrm>
          <a:off x="0" y="0"/>
          <a:ext cx="0" cy="0"/>
          <a:chOff x="0" y="0"/>
          <a:chExt cx="0" cy="0"/>
        </a:xfrm>
      </p:grpSpPr>
      <p:sp>
        <p:nvSpPr>
          <p:cNvPr id="5" name="Text Placeholder 2"/>
          <p:cNvSpPr>
            <a:spLocks noGrp="1"/>
          </p:cNvSpPr>
          <p:nvPr>
            <p:ph idx="13"/>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idx="14" hasCustomPrompt="1"/>
          </p:nvPr>
        </p:nvSpPr>
        <p:spPr>
          <a:xfrm>
            <a:off x="463296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b="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i="0" dirty="0"/>
              <a:t>This is a placeholder for a chart</a:t>
            </a:r>
            <a:endParaRPr lang="en-US" dirty="0"/>
          </a:p>
        </p:txBody>
      </p:sp>
      <p:sp>
        <p:nvSpPr>
          <p:cNvPr id="7" name="Title Placeholder 1"/>
          <p:cNvSpPr>
            <a:spLocks noGrp="1"/>
          </p:cNvSpPr>
          <p:nvPr>
            <p:ph type="title" hasCustomPrompt="1"/>
          </p:nvPr>
        </p:nvSpPr>
        <p:spPr>
          <a:xfrm>
            <a:off x="297640"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8" name="Subtitle 2"/>
          <p:cNvSpPr>
            <a:spLocks noGrp="1"/>
          </p:cNvSpPr>
          <p:nvPr>
            <p:ph type="subTitle" idx="1" hasCustomPrompt="1"/>
          </p:nvPr>
        </p:nvSpPr>
        <p:spPr>
          <a:xfrm>
            <a:off x="297640" y="728671"/>
            <a:ext cx="8540496" cy="246888"/>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9"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22793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Text and Chart Layout2">
    <p:spTree>
      <p:nvGrpSpPr>
        <p:cNvPr id="1" name=""/>
        <p:cNvGrpSpPr/>
        <p:nvPr/>
      </p:nvGrpSpPr>
      <p:grpSpPr>
        <a:xfrm>
          <a:off x="0" y="0"/>
          <a:ext cx="0" cy="0"/>
          <a:chOff x="0" y="0"/>
          <a:chExt cx="0" cy="0"/>
        </a:xfrm>
      </p:grpSpPr>
      <p:sp>
        <p:nvSpPr>
          <p:cNvPr id="5" name="Text Placeholder 2"/>
          <p:cNvSpPr>
            <a:spLocks noGrp="1"/>
          </p:cNvSpPr>
          <p:nvPr>
            <p:ph idx="13"/>
          </p:nvPr>
        </p:nvSpPr>
        <p:spPr>
          <a:xfrm>
            <a:off x="46482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a:lvl1pPr>
            <a:lvl2pPr marL="621792" indent="-285750">
              <a:buFont typeface="Arial" panose="020B0604020202020204" pitchFamily="34" charset="0"/>
              <a:buChar char="•"/>
              <a:defRPr sz="1600"/>
            </a:lvl2pPr>
            <a:lvl3pPr marL="731520" indent="-228600">
              <a:buFont typeface="Arial" panose="020B0604020202020204" pitchFamily="34" charset="0"/>
              <a:buChar char="•"/>
              <a:defRPr sz="1400"/>
            </a:lvl3pPr>
            <a:lvl4pPr marL="914400" indent="-228600">
              <a:buFont typeface="Arial" panose="020B0604020202020204" pitchFamily="34" charset="0"/>
              <a:buChar char="•"/>
              <a:defRPr sz="1400"/>
            </a:lvl4pPr>
            <a:lvl5pPr marL="914400" indent="-228600">
              <a:buFont typeface="Arial" panose="020B0604020202020204"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1"/>
          <p:cNvSpPr>
            <a:spLocks noGrp="1"/>
          </p:cNvSpPr>
          <p:nvPr>
            <p:ph type="title" hasCustomPrompt="1"/>
          </p:nvPr>
        </p:nvSpPr>
        <p:spPr>
          <a:xfrm>
            <a:off x="297641" y="209550"/>
            <a:ext cx="8541559" cy="511135"/>
          </a:xfrm>
          <a:prstGeom prst="rect">
            <a:avLst/>
          </a:prstGeom>
          <a:effectLst/>
        </p:spPr>
        <p:txBody>
          <a:bodyPr vert="horz" lIns="91440" tIns="45720" rIns="91440" bIns="45720" rtlCol="0" anchor="b">
            <a:normAutofit/>
          </a:bodyPr>
          <a:lstStyle>
            <a:lvl1pPr>
              <a:defRPr lang="en-US" sz="3200" b="1" kern="1200" spc="-50" baseline="0" dirty="0">
                <a:solidFill>
                  <a:schemeClr val="tx1"/>
                </a:solidFill>
                <a:effectLst/>
                <a:latin typeface="+mj-lt"/>
                <a:ea typeface="+mj-ea"/>
                <a:cs typeface="+mj-cs"/>
              </a:defRPr>
            </a:lvl1pPr>
          </a:lstStyle>
          <a:p>
            <a:r>
              <a:rPr lang="en-US" dirty="0"/>
              <a:t>Click To Edit Master Title</a:t>
            </a:r>
          </a:p>
        </p:txBody>
      </p:sp>
      <p:sp>
        <p:nvSpPr>
          <p:cNvPr id="10" name="Subtitle 2"/>
          <p:cNvSpPr>
            <a:spLocks noGrp="1"/>
          </p:cNvSpPr>
          <p:nvPr>
            <p:ph type="subTitle" idx="1" hasCustomPrompt="1"/>
          </p:nvPr>
        </p:nvSpPr>
        <p:spPr>
          <a:xfrm>
            <a:off x="297640" y="728671"/>
            <a:ext cx="8540496" cy="276999"/>
          </a:xfrm>
          <a:prstGeom prst="rect">
            <a:avLst/>
          </a:prstGeom>
          <a:ln w="76200" cmpd="sng">
            <a:noFill/>
          </a:ln>
        </p:spPr>
        <p:txBody>
          <a:bodyPr wrap="square" lIns="91440" tIns="0" rIns="0" bIns="0" anchor="b">
            <a:spAutoFit/>
          </a:bodyPr>
          <a:lstStyle>
            <a:lvl1pPr marL="0" indent="0" algn="l">
              <a:buNone/>
              <a:defRPr sz="1800" b="1">
                <a:solidFill>
                  <a:schemeClr val="accent3"/>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ttom </a:t>
            </a:r>
            <a:r>
              <a:rPr lang="en-US" dirty="0" err="1"/>
              <a:t>Subheader</a:t>
            </a:r>
            <a:r>
              <a:rPr lang="en-US" dirty="0"/>
              <a:t> Title</a:t>
            </a:r>
          </a:p>
        </p:txBody>
      </p:sp>
      <p:sp>
        <p:nvSpPr>
          <p:cNvPr id="6" name="Text Placeholder 2"/>
          <p:cNvSpPr>
            <a:spLocks noGrp="1"/>
          </p:cNvSpPr>
          <p:nvPr>
            <p:ph idx="14" hasCustomPrompt="1"/>
          </p:nvPr>
        </p:nvSpPr>
        <p:spPr>
          <a:xfrm>
            <a:off x="304800" y="1200150"/>
            <a:ext cx="4206240" cy="3394710"/>
          </a:xfrm>
          <a:prstGeom prst="rect">
            <a:avLst/>
          </a:prstGeom>
          <a:effectLst/>
        </p:spPr>
        <p:txBody>
          <a:bodyPr vert="horz" lIns="91440" tIns="45720" rIns="91440" bIns="45720" rtlCol="0">
            <a:normAutofit/>
          </a:bodyPr>
          <a:lstStyle>
            <a:lvl1pPr marL="0" indent="0">
              <a:buFont typeface="Arial" panose="020B0604020202020204" pitchFamily="34" charset="0"/>
              <a:buNone/>
              <a:defRPr sz="1800" i="0" baseline="0"/>
            </a:lvl1pPr>
            <a:lvl2pPr marL="621792" indent="-285750">
              <a:buFont typeface="Arial" panose="020B0604020202020204" pitchFamily="34" charset="0"/>
              <a:buChar char="•"/>
              <a:defRPr/>
            </a:lvl2pPr>
            <a:lvl3pPr marL="731520" indent="-228600">
              <a:buFont typeface="Arial" panose="020B0604020202020204" pitchFamily="34" charset="0"/>
              <a:buChar char="•"/>
              <a:defRPr/>
            </a:lvl3pPr>
            <a:lvl4pPr marL="914400" indent="-228600">
              <a:buFont typeface="Arial" panose="020B0604020202020204" pitchFamily="34" charset="0"/>
              <a:buChar char="•"/>
              <a:defRPr/>
            </a:lvl4pPr>
            <a:lvl5pPr marL="914400" indent="-228600">
              <a:buFont typeface="Arial" panose="020B0604020202020204" pitchFamily="34" charset="0"/>
              <a:buChar char="•"/>
              <a:defRPr/>
            </a:lvl5pPr>
          </a:lstStyle>
          <a:p>
            <a:pPr lvl="0"/>
            <a:r>
              <a:rPr lang="en-US" dirty="0"/>
              <a:t>This is a placeholder for a chart</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90753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8_Blank with Logo">
    <p:spTree>
      <p:nvGrpSpPr>
        <p:cNvPr id="1" name=""/>
        <p:cNvGrpSpPr/>
        <p:nvPr/>
      </p:nvGrpSpPr>
      <p:grpSpPr>
        <a:xfrm>
          <a:off x="0" y="0"/>
          <a:ext cx="0" cy="0"/>
          <a:chOff x="0" y="0"/>
          <a:chExt cx="0" cy="0"/>
        </a:xfrm>
      </p:grpSpPr>
      <p:sp>
        <p:nvSpPr>
          <p:cNvPr id="3"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412567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Section Headline">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Section Headline</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Introduction into a section text here</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255338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7_Appendix">
    <p:spTree>
      <p:nvGrpSpPr>
        <p:cNvPr id="1" name=""/>
        <p:cNvGrpSpPr/>
        <p:nvPr/>
      </p:nvGrpSpPr>
      <p:grpSpPr>
        <a:xfrm>
          <a:off x="0" y="0"/>
          <a:ext cx="0" cy="0"/>
          <a:chOff x="0" y="0"/>
          <a:chExt cx="0" cy="0"/>
        </a:xfrm>
      </p:grpSpPr>
      <p:sp>
        <p:nvSpPr>
          <p:cNvPr id="5" name="Text Placeholder 2"/>
          <p:cNvSpPr>
            <a:spLocks noGrp="1"/>
          </p:cNvSpPr>
          <p:nvPr>
            <p:ph type="body" sz="quarter" idx="11" hasCustomPrompt="1"/>
          </p:nvPr>
        </p:nvSpPr>
        <p:spPr>
          <a:xfrm>
            <a:off x="0" y="1775630"/>
            <a:ext cx="9144000" cy="803564"/>
          </a:xfrm>
          <a:prstGeom prst="rect">
            <a:avLst/>
          </a:prstGeom>
        </p:spPr>
        <p:txBody>
          <a:bodyPr anchor="ctr"/>
          <a:lstStyle>
            <a:lvl1pPr marL="0" indent="0" algn="ctr">
              <a:buNone/>
              <a:defRPr sz="4800" b="1" spc="-150" baseline="0">
                <a:solidFill>
                  <a:schemeClr val="accent3"/>
                </a:solidFill>
              </a:defRPr>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Appendix</a:t>
            </a:r>
          </a:p>
        </p:txBody>
      </p:sp>
      <p:sp>
        <p:nvSpPr>
          <p:cNvPr id="3" name="Text Placeholder 2"/>
          <p:cNvSpPr>
            <a:spLocks noGrp="1"/>
          </p:cNvSpPr>
          <p:nvPr>
            <p:ph type="body" sz="quarter" idx="10" hasCustomPrompt="1"/>
          </p:nvPr>
        </p:nvSpPr>
        <p:spPr>
          <a:xfrm>
            <a:off x="0" y="1522268"/>
            <a:ext cx="9144000" cy="346364"/>
          </a:xfrm>
          <a:prstGeom prst="rect">
            <a:avLst/>
          </a:prstGeom>
        </p:spPr>
        <p:txBody>
          <a:bodyPr/>
          <a:lstStyle>
            <a:lvl1pPr marL="0" indent="0" algn="ctr">
              <a:buNone/>
              <a:defRPr sz="1600" baseline="0"/>
            </a:lvl1pPr>
            <a:lvl2pPr marL="336042" indent="0" algn="ctr">
              <a:buNone/>
              <a:defRPr/>
            </a:lvl2pPr>
            <a:lvl3pPr marL="502920" indent="0" algn="ctr">
              <a:buNone/>
              <a:defRPr/>
            </a:lvl3pPr>
            <a:lvl4pPr marL="685800" indent="0" algn="ctr">
              <a:buNone/>
              <a:defRPr/>
            </a:lvl4pPr>
            <a:lvl5pPr marL="685800" indent="0" algn="ctr">
              <a:buNone/>
              <a:defRPr/>
            </a:lvl5pPr>
          </a:lstStyle>
          <a:p>
            <a:pPr lvl="0"/>
            <a:r>
              <a:rPr lang="en-US" dirty="0"/>
              <a:t>Text Optional</a:t>
            </a:r>
          </a:p>
        </p:txBody>
      </p:sp>
      <p:sp>
        <p:nvSpPr>
          <p:cNvPr id="7"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358115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8_Appendix">
    <p:spTree>
      <p:nvGrpSpPr>
        <p:cNvPr id="1" name=""/>
        <p:cNvGrpSpPr/>
        <p:nvPr/>
      </p:nvGrpSpPr>
      <p:grpSpPr>
        <a:xfrm>
          <a:off x="0" y="0"/>
          <a:ext cx="0" cy="0"/>
          <a:chOff x="0" y="0"/>
          <a:chExt cx="0" cy="0"/>
        </a:xfrm>
      </p:grpSpPr>
      <p:sp>
        <p:nvSpPr>
          <p:cNvPr id="7" name="TextBox 6"/>
          <p:cNvSpPr txBox="1"/>
          <p:nvPr userDrawn="1"/>
        </p:nvSpPr>
        <p:spPr>
          <a:xfrm>
            <a:off x="948520" y="1962150"/>
            <a:ext cx="2209800" cy="800219"/>
          </a:xfrm>
          <a:prstGeom prst="rect">
            <a:avLst/>
          </a:prstGeom>
          <a:noFill/>
        </p:spPr>
        <p:txBody>
          <a:bodyPr wrap="square" lIns="182880" tIns="91440" rIns="182880" bIns="91440" rtlCol="0">
            <a:spAutoFit/>
          </a:bodyPr>
          <a:lstStyle/>
          <a:p>
            <a:pPr algn="l"/>
            <a:r>
              <a:rPr lang="en-US" sz="4000" b="1" spc="-50" baseline="0" dirty="0">
                <a:solidFill>
                  <a:schemeClr val="tx1"/>
                </a:solidFill>
                <a:latin typeface="Arial"/>
                <a:cs typeface="Arial"/>
              </a:rPr>
              <a:t>Agenda</a:t>
            </a:r>
            <a:endParaRPr lang="en-US" sz="2400" b="1" spc="-50" baseline="0" dirty="0">
              <a:solidFill>
                <a:schemeClr val="tx1"/>
              </a:solidFill>
              <a:latin typeface="Arial"/>
              <a:cs typeface="Arial"/>
            </a:endParaRPr>
          </a:p>
        </p:txBody>
      </p:sp>
      <p:cxnSp>
        <p:nvCxnSpPr>
          <p:cNvPr id="8" name="Straight Connector 7"/>
          <p:cNvCxnSpPr/>
          <p:nvPr userDrawn="1"/>
        </p:nvCxnSpPr>
        <p:spPr>
          <a:xfrm>
            <a:off x="3155950" y="857250"/>
            <a:ext cx="0" cy="358140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9" name="Text Placeholder 5"/>
          <p:cNvSpPr>
            <a:spLocks noGrp="1"/>
          </p:cNvSpPr>
          <p:nvPr>
            <p:ph type="body" sz="quarter" idx="13" hasCustomPrompt="1"/>
          </p:nvPr>
        </p:nvSpPr>
        <p:spPr>
          <a:xfrm>
            <a:off x="3429000" y="1136545"/>
            <a:ext cx="5334000" cy="3022810"/>
          </a:xfrm>
          <a:prstGeom prst="rect">
            <a:avLst/>
          </a:prstGeom>
        </p:spPr>
        <p:txBody>
          <a:bodyPr anchor="t"/>
          <a:lstStyle>
            <a:lvl1pPr marL="0" marR="0" indent="0" algn="l" defTabSz="457200" rtl="0" eaLnBrk="1" fontAlgn="auto" latinLnBrk="0" hangingPunct="1">
              <a:lnSpc>
                <a:spcPct val="200000"/>
              </a:lnSpc>
              <a:spcBef>
                <a:spcPts val="0"/>
              </a:spcBef>
              <a:spcAft>
                <a:spcPts val="0"/>
              </a:spcAft>
              <a:buClr>
                <a:schemeClr val="accent3"/>
              </a:buClr>
              <a:buSzTx/>
              <a:buFont typeface="Wingdings" charset="2"/>
              <a:buNone/>
              <a:tabLst/>
              <a:defRPr/>
            </a:lvl1pPr>
            <a:lvl2pPr marL="336042" indent="0">
              <a:buNone/>
              <a:defRPr/>
            </a:lvl2pPr>
            <a:lvl3pPr marL="502920" indent="0">
              <a:buNone/>
              <a:defRPr/>
            </a:lvl3pPr>
            <a:lvl4pPr marL="685800" indent="0">
              <a:buNone/>
              <a:defRPr/>
            </a:lvl4pPr>
            <a:lvl5pPr marL="685800" indent="0">
              <a:buNone/>
              <a:defRPr/>
            </a:lvl5pPr>
          </a:lstStyle>
          <a:p>
            <a:pPr lvl="0"/>
            <a:r>
              <a:rPr lang="en-US" dirty="0"/>
              <a:t>Agenda Line Item 1</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2</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3</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4</a:t>
            </a:r>
          </a:p>
          <a:p>
            <a:pPr marL="0" marR="0" lvl="0" indent="0" algn="l" defTabSz="457200" rtl="0" eaLnBrk="1" fontAlgn="auto" latinLnBrk="0" hangingPunct="1">
              <a:lnSpc>
                <a:spcPct val="100000"/>
              </a:lnSpc>
              <a:spcBef>
                <a:spcPts val="400"/>
              </a:spcBef>
              <a:spcAft>
                <a:spcPts val="600"/>
              </a:spcAft>
              <a:buClr>
                <a:schemeClr val="accent3"/>
              </a:buClr>
              <a:buSzTx/>
              <a:buFont typeface="Wingdings" charset="2"/>
              <a:buNone/>
              <a:tabLst/>
              <a:defRPr/>
            </a:pPr>
            <a:r>
              <a:rPr lang="en-US" dirty="0"/>
              <a:t>Agenda Line Item 5</a:t>
            </a:r>
          </a:p>
        </p:txBody>
      </p:sp>
      <p:sp>
        <p:nvSpPr>
          <p:cNvPr id="10" name="Rectangle 3"/>
          <p:cNvSpPr/>
          <p:nvPr userDrawn="1"/>
        </p:nvSpPr>
        <p:spPr>
          <a:xfrm>
            <a:off x="-15876" y="-8355"/>
            <a:ext cx="1188357" cy="5160211"/>
          </a:xfrm>
          <a:custGeom>
            <a:avLst/>
            <a:gdLst>
              <a:gd name="connsiteX0" fmla="*/ 0 w 1033405"/>
              <a:gd name="connsiteY0" fmla="*/ 0 h 4670777"/>
              <a:gd name="connsiteX1" fmla="*/ 1033405 w 1033405"/>
              <a:gd name="connsiteY1" fmla="*/ 0 h 4670777"/>
              <a:gd name="connsiteX2" fmla="*/ 1033405 w 1033405"/>
              <a:gd name="connsiteY2" fmla="*/ 4670777 h 4670777"/>
              <a:gd name="connsiteX3" fmla="*/ 0 w 1033405"/>
              <a:gd name="connsiteY3" fmla="*/ 4670777 h 4670777"/>
              <a:gd name="connsiteX4" fmla="*/ 0 w 1033405"/>
              <a:gd name="connsiteY4" fmla="*/ 0 h 4670777"/>
              <a:gd name="connsiteX0" fmla="*/ 0 w 1033405"/>
              <a:gd name="connsiteY0" fmla="*/ 0 h 4670777"/>
              <a:gd name="connsiteX1" fmla="*/ 1033405 w 1033405"/>
              <a:gd name="connsiteY1" fmla="*/ 0 h 4670777"/>
              <a:gd name="connsiteX2" fmla="*/ 405459 w 1033405"/>
              <a:gd name="connsiteY2" fmla="*/ 395111 h 4670777"/>
              <a:gd name="connsiteX3" fmla="*/ 1033405 w 1033405"/>
              <a:gd name="connsiteY3" fmla="*/ 4670777 h 4670777"/>
              <a:gd name="connsiteX4" fmla="*/ 0 w 1033405"/>
              <a:gd name="connsiteY4" fmla="*/ 4670777 h 4670777"/>
              <a:gd name="connsiteX5" fmla="*/ 0 w 1033405"/>
              <a:gd name="connsiteY5" fmla="*/ 0 h 4670777"/>
              <a:gd name="connsiteX0" fmla="*/ 0 w 1033405"/>
              <a:gd name="connsiteY0" fmla="*/ 0 h 4670777"/>
              <a:gd name="connsiteX1" fmla="*/ 1033405 w 1033405"/>
              <a:gd name="connsiteY1" fmla="*/ 0 h 4670777"/>
              <a:gd name="connsiteX2" fmla="*/ 479543 w 1033405"/>
              <a:gd name="connsiteY2" fmla="*/ 416278 h 4670777"/>
              <a:gd name="connsiteX3" fmla="*/ 1033405 w 1033405"/>
              <a:gd name="connsiteY3" fmla="*/ 4670777 h 4670777"/>
              <a:gd name="connsiteX4" fmla="*/ 0 w 1033405"/>
              <a:gd name="connsiteY4" fmla="*/ 4670777 h 4670777"/>
              <a:gd name="connsiteX5" fmla="*/ 0 w 1033405"/>
              <a:gd name="connsiteY5" fmla="*/ 0 h 4670777"/>
              <a:gd name="connsiteX0" fmla="*/ 0 w 1098515"/>
              <a:gd name="connsiteY0" fmla="*/ 0 h 4670777"/>
              <a:gd name="connsiteX1" fmla="*/ 1033405 w 1098515"/>
              <a:gd name="connsiteY1" fmla="*/ 0 h 4670777"/>
              <a:gd name="connsiteX2" fmla="*/ 987542 w 1098515"/>
              <a:gd name="connsiteY2" fmla="*/ 373944 h 4670777"/>
              <a:gd name="connsiteX3" fmla="*/ 479543 w 1098515"/>
              <a:gd name="connsiteY3" fmla="*/ 416278 h 4670777"/>
              <a:gd name="connsiteX4" fmla="*/ 1033405 w 1098515"/>
              <a:gd name="connsiteY4" fmla="*/ 4670777 h 4670777"/>
              <a:gd name="connsiteX5" fmla="*/ 0 w 1098515"/>
              <a:gd name="connsiteY5" fmla="*/ 4670777 h 4670777"/>
              <a:gd name="connsiteX6" fmla="*/ 0 w 1098515"/>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1033405 w 1083343"/>
              <a:gd name="connsiteY4" fmla="*/ 4670777 h 4670777"/>
              <a:gd name="connsiteX5" fmla="*/ 0 w 1083343"/>
              <a:gd name="connsiteY5" fmla="*/ 4670777 h 4670777"/>
              <a:gd name="connsiteX6" fmla="*/ 0 w 1083343"/>
              <a:gd name="connsiteY6"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331375 w 1083343"/>
              <a:gd name="connsiteY4" fmla="*/ 43109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1033405 w 1083343"/>
              <a:gd name="connsiteY5" fmla="*/ 4670777 h 4670777"/>
              <a:gd name="connsiteX6" fmla="*/ 0 w 1083343"/>
              <a:gd name="connsiteY6" fmla="*/ 4670777 h 4670777"/>
              <a:gd name="connsiteX7" fmla="*/ 0 w 1083343"/>
              <a:gd name="connsiteY7"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1033405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8959 w 1083343"/>
              <a:gd name="connsiteY4" fmla="*/ 4247444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38977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85425 w 1083343"/>
              <a:gd name="connsiteY5" fmla="*/ 4298244 h 4670777"/>
              <a:gd name="connsiteX6" fmla="*/ 991072 w 1083343"/>
              <a:gd name="connsiteY6" fmla="*/ 4670777 h 4670777"/>
              <a:gd name="connsiteX7" fmla="*/ 0 w 1083343"/>
              <a:gd name="connsiteY7" fmla="*/ 4670777 h 4670777"/>
              <a:gd name="connsiteX8" fmla="*/ 0 w 1083343"/>
              <a:gd name="connsiteY8" fmla="*/ 0 h 4670777"/>
              <a:gd name="connsiteX0" fmla="*/ 0 w 1083343"/>
              <a:gd name="connsiteY0" fmla="*/ 0 h 4670777"/>
              <a:gd name="connsiteX1" fmla="*/ 1033405 w 1083343"/>
              <a:gd name="connsiteY1" fmla="*/ 0 h 4670777"/>
              <a:gd name="connsiteX2" fmla="*/ 987542 w 1083343"/>
              <a:gd name="connsiteY2" fmla="*/ 373944 h 4670777"/>
              <a:gd name="connsiteX3" fmla="*/ 479543 w 1083343"/>
              <a:gd name="connsiteY3" fmla="*/ 416278 h 4670777"/>
              <a:gd name="connsiteX4" fmla="*/ 460492 w 1083343"/>
              <a:gd name="connsiteY4" fmla="*/ 4281310 h 4670777"/>
              <a:gd name="connsiteX5" fmla="*/ 993892 w 1083343"/>
              <a:gd name="connsiteY5" fmla="*/ 4281311 h 4670777"/>
              <a:gd name="connsiteX6" fmla="*/ 991072 w 1083343"/>
              <a:gd name="connsiteY6" fmla="*/ 4670777 h 4670777"/>
              <a:gd name="connsiteX7" fmla="*/ 0 w 1083343"/>
              <a:gd name="connsiteY7" fmla="*/ 4670777 h 4670777"/>
              <a:gd name="connsiteX8" fmla="*/ 0 w 1083343"/>
              <a:gd name="connsiteY8" fmla="*/ 0 h 4670777"/>
              <a:gd name="connsiteX0" fmla="*/ 0 w 1102103"/>
              <a:gd name="connsiteY0" fmla="*/ 0 h 4670777"/>
              <a:gd name="connsiteX1" fmla="*/ 1033405 w 1102103"/>
              <a:gd name="connsiteY1" fmla="*/ 0 h 4670777"/>
              <a:gd name="connsiteX2" fmla="*/ 1055276 w 1102103"/>
              <a:gd name="connsiteY2" fmla="*/ 390877 h 4670777"/>
              <a:gd name="connsiteX3" fmla="*/ 479543 w 1102103"/>
              <a:gd name="connsiteY3" fmla="*/ 416278 h 4670777"/>
              <a:gd name="connsiteX4" fmla="*/ 460492 w 1102103"/>
              <a:gd name="connsiteY4" fmla="*/ 4281310 h 4670777"/>
              <a:gd name="connsiteX5" fmla="*/ 993892 w 1102103"/>
              <a:gd name="connsiteY5" fmla="*/ 4281311 h 4670777"/>
              <a:gd name="connsiteX6" fmla="*/ 991072 w 1102103"/>
              <a:gd name="connsiteY6" fmla="*/ 4670777 h 4670777"/>
              <a:gd name="connsiteX7" fmla="*/ 0 w 1102103"/>
              <a:gd name="connsiteY7" fmla="*/ 4670777 h 4670777"/>
              <a:gd name="connsiteX8" fmla="*/ 0 w 1102103"/>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79543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2610 w 1092789"/>
              <a:gd name="connsiteY3" fmla="*/ 416278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92789"/>
              <a:gd name="connsiteY0" fmla="*/ 0 h 4670777"/>
              <a:gd name="connsiteX1" fmla="*/ 1033405 w 1092789"/>
              <a:gd name="connsiteY1" fmla="*/ 0 h 4670777"/>
              <a:gd name="connsiteX2" fmla="*/ 1055276 w 1092789"/>
              <a:gd name="connsiteY2" fmla="*/ 390877 h 4670777"/>
              <a:gd name="connsiteX3" fmla="*/ 469123 w 1092789"/>
              <a:gd name="connsiteY3" fmla="*/ 403253 h 4670777"/>
              <a:gd name="connsiteX4" fmla="*/ 460492 w 1092789"/>
              <a:gd name="connsiteY4" fmla="*/ 4281310 h 4670777"/>
              <a:gd name="connsiteX5" fmla="*/ 993892 w 1092789"/>
              <a:gd name="connsiteY5" fmla="*/ 4281311 h 4670777"/>
              <a:gd name="connsiteX6" fmla="*/ 991072 w 1092789"/>
              <a:gd name="connsiteY6" fmla="*/ 4670777 h 4670777"/>
              <a:gd name="connsiteX7" fmla="*/ 0 w 1092789"/>
              <a:gd name="connsiteY7" fmla="*/ 4670777 h 4670777"/>
              <a:gd name="connsiteX8" fmla="*/ 0 w 1092789"/>
              <a:gd name="connsiteY8" fmla="*/ 0 h 4670777"/>
              <a:gd name="connsiteX0" fmla="*/ 0 w 1055276"/>
              <a:gd name="connsiteY0" fmla="*/ 0 h 4670777"/>
              <a:gd name="connsiteX1" fmla="*/ 1033405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48739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1055276"/>
              <a:gd name="connsiteY0" fmla="*/ 0 h 4670777"/>
              <a:gd name="connsiteX1" fmla="*/ 981303 w 1055276"/>
              <a:gd name="connsiteY1" fmla="*/ 0 h 4670777"/>
              <a:gd name="connsiteX2" fmla="*/ 1055276 w 1055276"/>
              <a:gd name="connsiteY2" fmla="*/ 390877 h 4670777"/>
              <a:gd name="connsiteX3" fmla="*/ 469123 w 1055276"/>
              <a:gd name="connsiteY3" fmla="*/ 403253 h 4670777"/>
              <a:gd name="connsiteX4" fmla="*/ 460492 w 1055276"/>
              <a:gd name="connsiteY4" fmla="*/ 4281310 h 4670777"/>
              <a:gd name="connsiteX5" fmla="*/ 993892 w 1055276"/>
              <a:gd name="connsiteY5" fmla="*/ 4281311 h 4670777"/>
              <a:gd name="connsiteX6" fmla="*/ 991072 w 1055276"/>
              <a:gd name="connsiteY6" fmla="*/ 4670777 h 4670777"/>
              <a:gd name="connsiteX7" fmla="*/ 0 w 1055276"/>
              <a:gd name="connsiteY7" fmla="*/ 4670777 h 4670777"/>
              <a:gd name="connsiteX8" fmla="*/ 0 w 1055276"/>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9123 w 994234"/>
              <a:gd name="connsiteY3" fmla="*/ 403253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382086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4414 w 994234"/>
              <a:gd name="connsiteY3" fmla="*/ 408544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797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8540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1620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53248 w 994234"/>
              <a:gd name="connsiteY3" fmla="*/ 392669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81311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334227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1310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47956 w 994234"/>
              <a:gd name="connsiteY3" fmla="*/ 397961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390877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83635 w 994234"/>
              <a:gd name="connsiteY2" fmla="*/ 401481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4234"/>
              <a:gd name="connsiteY0" fmla="*/ 0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0 h 4670777"/>
              <a:gd name="connsiteX0" fmla="*/ 0 w 998695"/>
              <a:gd name="connsiteY0" fmla="*/ 4308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4308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8616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8616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4234"/>
              <a:gd name="connsiteY0" fmla="*/ 4307 h 4670777"/>
              <a:gd name="connsiteX1" fmla="*/ 981303 w 994234"/>
              <a:gd name="connsiteY1" fmla="*/ 0 h 4670777"/>
              <a:gd name="connsiteX2" fmla="*/ 978144 w 994234"/>
              <a:gd name="connsiteY2" fmla="*/ 406782 h 4670777"/>
              <a:gd name="connsiteX3" fmla="*/ 464430 w 994234"/>
              <a:gd name="connsiteY3" fmla="*/ 403263 h 4670777"/>
              <a:gd name="connsiteX4" fmla="*/ 460492 w 994234"/>
              <a:gd name="connsiteY4" fmla="*/ 4286601 h 4670777"/>
              <a:gd name="connsiteX5" fmla="*/ 993892 w 994234"/>
              <a:gd name="connsiteY5" fmla="*/ 4291893 h 4670777"/>
              <a:gd name="connsiteX6" fmla="*/ 991072 w 994234"/>
              <a:gd name="connsiteY6" fmla="*/ 4670777 h 4670777"/>
              <a:gd name="connsiteX7" fmla="*/ 0 w 994234"/>
              <a:gd name="connsiteY7" fmla="*/ 4670777 h 4670777"/>
              <a:gd name="connsiteX8" fmla="*/ 0 w 994234"/>
              <a:gd name="connsiteY8" fmla="*/ 4307 h 4670777"/>
              <a:gd name="connsiteX0" fmla="*/ 0 w 998695"/>
              <a:gd name="connsiteY0" fmla="*/ 0 h 4670777"/>
              <a:gd name="connsiteX1" fmla="*/ 985764 w 998695"/>
              <a:gd name="connsiteY1" fmla="*/ 0 h 4670777"/>
              <a:gd name="connsiteX2" fmla="*/ 982605 w 998695"/>
              <a:gd name="connsiteY2" fmla="*/ 406782 h 4670777"/>
              <a:gd name="connsiteX3" fmla="*/ 468891 w 998695"/>
              <a:gd name="connsiteY3" fmla="*/ 403263 h 4670777"/>
              <a:gd name="connsiteX4" fmla="*/ 464953 w 998695"/>
              <a:gd name="connsiteY4" fmla="*/ 4286601 h 4670777"/>
              <a:gd name="connsiteX5" fmla="*/ 998353 w 998695"/>
              <a:gd name="connsiteY5" fmla="*/ 4291893 h 4670777"/>
              <a:gd name="connsiteX6" fmla="*/ 995533 w 998695"/>
              <a:gd name="connsiteY6" fmla="*/ 4670777 h 4670777"/>
              <a:gd name="connsiteX7" fmla="*/ 4461 w 998695"/>
              <a:gd name="connsiteY7" fmla="*/ 4670777 h 4670777"/>
              <a:gd name="connsiteX8" fmla="*/ 0 w 998695"/>
              <a:gd name="connsiteY8" fmla="*/ 0 h 467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695" h="4670777">
                <a:moveTo>
                  <a:pt x="0" y="0"/>
                </a:moveTo>
                <a:lnTo>
                  <a:pt x="985764" y="0"/>
                </a:lnTo>
                <a:cubicBezTo>
                  <a:pt x="984184" y="203391"/>
                  <a:pt x="981439" y="211343"/>
                  <a:pt x="982605" y="406782"/>
                </a:cubicBezTo>
                <a:lnTo>
                  <a:pt x="468891" y="403263"/>
                </a:lnTo>
                <a:cubicBezTo>
                  <a:pt x="474182" y="1064368"/>
                  <a:pt x="465307" y="3941584"/>
                  <a:pt x="464953" y="4286601"/>
                </a:cubicBezTo>
                <a:cubicBezTo>
                  <a:pt x="577841" y="4295067"/>
                  <a:pt x="902398" y="4291893"/>
                  <a:pt x="998353" y="4291893"/>
                </a:cubicBezTo>
                <a:cubicBezTo>
                  <a:pt x="1000235" y="4416071"/>
                  <a:pt x="993651" y="4546599"/>
                  <a:pt x="995533" y="4670777"/>
                </a:cubicBezTo>
                <a:lnTo>
                  <a:pt x="4461" y="4670777"/>
                </a:lnTo>
                <a:lnTo>
                  <a:pt x="0" y="0"/>
                </a:lnTo>
                <a:close/>
              </a:path>
            </a:pathLst>
          </a:custGeom>
          <a:blipFill rotWithShape="1">
            <a:blip r:embed="rId2"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17"/>
          <p:cNvSpPr>
            <a:spLocks noGrp="1"/>
          </p:cNvSpPr>
          <p:nvPr>
            <p:ph type="sldNum" sz="quarter" idx="12"/>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spTree>
    <p:extLst>
      <p:ext uri="{BB962C8B-B14F-4D97-AF65-F5344CB8AC3E}">
        <p14:creationId xmlns:p14="http://schemas.microsoft.com/office/powerpoint/2010/main" val="62158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96C06D18-DE86-BD4D-A169-1B5FE6A953FB}" type="datetimeFigureOut">
              <a:rPr lang="en-US" smtClean="0"/>
              <a:t>22/04/18</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0BCCE288-166A-6C47-8FDA-6A6F8AD7A86C}" type="slidenum">
              <a:rPr lang="en-US" smtClean="0"/>
              <a:t>‹#›</a:t>
            </a:fld>
            <a:endParaRPr lang="en-US"/>
          </a:p>
        </p:txBody>
      </p:sp>
    </p:spTree>
    <p:extLst>
      <p:ext uri="{BB962C8B-B14F-4D97-AF65-F5344CB8AC3E}">
        <p14:creationId xmlns:p14="http://schemas.microsoft.com/office/powerpoint/2010/main" val="24377517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impl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0676" y="258672"/>
            <a:ext cx="7649834" cy="742387"/>
          </a:xfrm>
          <a:prstGeom prst="rect">
            <a:avLst/>
          </a:prstGeom>
        </p:spPr>
        <p:txBody>
          <a:bodyPr vert="horz" lIns="91440" tIns="45720" rIns="91440" bIns="45720" rtlCol="0" anchor="t">
            <a:noAutofit/>
          </a:bodyPr>
          <a:lstStyle>
            <a:lvl1pPr>
              <a:lnSpc>
                <a:spcPct val="85000"/>
              </a:lnSpc>
              <a:defRPr sz="3200" baseline="0"/>
            </a:lvl1pPr>
          </a:lstStyle>
          <a:p>
            <a:r>
              <a:rPr lang="en-US" dirty="0"/>
              <a:t>Wide Open Slide</a:t>
            </a:r>
            <a:br>
              <a:rPr lang="en-US" dirty="0"/>
            </a:br>
            <a:r>
              <a:rPr lang="en-US" dirty="0"/>
              <a:t>Insert Title Here</a:t>
            </a:r>
          </a:p>
        </p:txBody>
      </p:sp>
      <p:sp>
        <p:nvSpPr>
          <p:cNvPr id="20" name="Content Placeholder 18"/>
          <p:cNvSpPr>
            <a:spLocks noGrp="1"/>
          </p:cNvSpPr>
          <p:nvPr>
            <p:ph sz="quarter" idx="16"/>
          </p:nvPr>
        </p:nvSpPr>
        <p:spPr>
          <a:xfrm>
            <a:off x="211667" y="1490134"/>
            <a:ext cx="8238066" cy="3403600"/>
          </a:xfrm>
          <a:prstGeom prst="rect">
            <a:avLst/>
          </a:prstGeom>
        </p:spPr>
        <p:txBody>
          <a:bodyPr vert="horz"/>
          <a:lstStyle>
            <a:lvl1pPr marL="274320" indent="-274320">
              <a:lnSpc>
                <a:spcPts val="2100"/>
              </a:lnSpc>
              <a:spcBef>
                <a:spcPts val="0"/>
              </a:spcBef>
              <a:spcAft>
                <a:spcPts val="600"/>
              </a:spcAft>
              <a:buClr>
                <a:schemeClr val="accent1"/>
              </a:buClr>
              <a:defRPr sz="1600" kern="0" spc="-20"/>
            </a:lvl1pPr>
            <a:lvl2pPr marL="365760" indent="-274320">
              <a:lnSpc>
                <a:spcPts val="2100"/>
              </a:lnSpc>
              <a:spcBef>
                <a:spcPts val="0"/>
              </a:spcBef>
              <a:spcAft>
                <a:spcPts val="600"/>
              </a:spcAft>
              <a:buClr>
                <a:schemeClr val="accent1"/>
              </a:buClr>
              <a:defRPr sz="1600" kern="0" spc="-20"/>
            </a:lvl2pPr>
            <a:lvl3pPr marL="548640" indent="-182880">
              <a:lnSpc>
                <a:spcPts val="2100"/>
              </a:lnSpc>
              <a:spcBef>
                <a:spcPts val="0"/>
              </a:spcBef>
              <a:spcAft>
                <a:spcPts val="600"/>
              </a:spcAft>
              <a:buClr>
                <a:schemeClr val="accent1"/>
              </a:buClr>
              <a:defRPr sz="1600" kern="0" spc="-2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774806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4893" y="2148728"/>
            <a:ext cx="8229600" cy="1758390"/>
          </a:xfrm>
          <a:prstGeom prst="rect">
            <a:avLst/>
          </a:prstGeom>
        </p:spPr>
        <p:txBody>
          <a:bodyPr vert="horz" lIns="91376" tIns="45688" rIns="91376" bIns="45688"/>
          <a:lstStyle>
            <a:lvl1pPr>
              <a:lnSpc>
                <a:spcPct val="80000"/>
              </a:lnSpc>
              <a:defRPr sz="4800" b="1" spc="-100">
                <a:solidFill>
                  <a:schemeClr val="bg1"/>
                </a:solidFill>
                <a:latin typeface="Arial"/>
                <a:cs typeface="Arial"/>
              </a:defRPr>
            </a:lvl1pPr>
          </a:lstStyle>
          <a:p>
            <a:r>
              <a:rPr lang="en-US" dirty="0"/>
              <a:t>Presentation </a:t>
            </a:r>
            <a:br>
              <a:rPr lang="en-US" dirty="0"/>
            </a:br>
            <a:r>
              <a:rPr lang="en-US" dirty="0"/>
              <a:t>Title</a:t>
            </a:r>
          </a:p>
        </p:txBody>
      </p:sp>
      <p:sp>
        <p:nvSpPr>
          <p:cNvPr id="9" name="Text Placeholder 8"/>
          <p:cNvSpPr>
            <a:spLocks noGrp="1"/>
          </p:cNvSpPr>
          <p:nvPr>
            <p:ph type="body" sz="quarter" idx="10" hasCustomPrompt="1"/>
          </p:nvPr>
        </p:nvSpPr>
        <p:spPr>
          <a:xfrm>
            <a:off x="534893" y="3906854"/>
            <a:ext cx="8229600" cy="979487"/>
          </a:xfrm>
          <a:prstGeom prst="rect">
            <a:avLst/>
          </a:prstGeom>
        </p:spPr>
        <p:txBody>
          <a:bodyPr vert="horz" lIns="91376" tIns="45688" rIns="91376" bIns="45688"/>
          <a:lstStyle>
            <a:lvl1pPr marL="0" indent="0" algn="ctr">
              <a:buNone/>
              <a:defRPr sz="1800" b="1">
                <a:solidFill>
                  <a:srgbClr val="FFFFFF"/>
                </a:solidFill>
                <a:latin typeface="Arial"/>
                <a:cs typeface="Arial"/>
              </a:defRPr>
            </a:lvl1pPr>
          </a:lstStyle>
          <a:p>
            <a:pPr lvl="0"/>
            <a:r>
              <a:rPr lang="en-US" dirty="0"/>
              <a:t>Presenter, Position</a:t>
            </a:r>
          </a:p>
          <a:p>
            <a:pPr lvl="0"/>
            <a:endParaRPr lang="en-US" dirty="0"/>
          </a:p>
        </p:txBody>
      </p:sp>
    </p:spTree>
    <p:extLst>
      <p:ext uri="{BB962C8B-B14F-4D97-AF65-F5344CB8AC3E}">
        <p14:creationId xmlns:p14="http://schemas.microsoft.com/office/powerpoint/2010/main" val="19684350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Insights BG">
    <p:spTree>
      <p:nvGrpSpPr>
        <p:cNvPr id="1" name=""/>
        <p:cNvGrpSpPr/>
        <p:nvPr/>
      </p:nvGrpSpPr>
      <p:grpSpPr>
        <a:xfrm>
          <a:off x="0" y="0"/>
          <a:ext cx="0" cy="0"/>
          <a:chOff x="0" y="0"/>
          <a:chExt cx="0" cy="0"/>
        </a:xfrm>
      </p:grpSpPr>
      <p:sp>
        <p:nvSpPr>
          <p:cNvPr id="9" name="Rectangle 8"/>
          <p:cNvSpPr/>
          <p:nvPr userDrawn="1"/>
        </p:nvSpPr>
        <p:spPr>
          <a:xfrm>
            <a:off x="3752850" y="1"/>
            <a:ext cx="5391150" cy="5143499"/>
          </a:xfrm>
          <a:prstGeom prst="rect">
            <a:avLst/>
          </a:prstGeom>
          <a:solidFill>
            <a:srgbClr val="20242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5" name="Title Placeholder 1"/>
          <p:cNvSpPr>
            <a:spLocks noGrp="1"/>
          </p:cNvSpPr>
          <p:nvPr>
            <p:ph type="title" hasCustomPrompt="1"/>
          </p:nvPr>
        </p:nvSpPr>
        <p:spPr>
          <a:xfrm>
            <a:off x="210677" y="258672"/>
            <a:ext cx="3395687" cy="742387"/>
          </a:xfrm>
          <a:prstGeom prst="rect">
            <a:avLst/>
          </a:prstGeom>
        </p:spPr>
        <p:txBody>
          <a:bodyPr vert="horz" lIns="91440" tIns="45720" rIns="91440" bIns="45720" rtlCol="0" anchor="t">
            <a:normAutofit/>
          </a:bodyPr>
          <a:lstStyle>
            <a:lvl1pPr>
              <a:defRPr sz="1800" spc="-70" baseline="0"/>
            </a:lvl1pPr>
          </a:lstStyle>
          <a:p>
            <a:r>
              <a:rPr lang="en-US" dirty="0"/>
              <a:t>Storytelling Slide</a:t>
            </a:r>
            <a:br>
              <a:rPr lang="en-US" dirty="0"/>
            </a:br>
            <a:r>
              <a:rPr lang="en-US" dirty="0"/>
              <a:t>Insert Title Here</a:t>
            </a:r>
          </a:p>
        </p:txBody>
      </p:sp>
      <p:sp>
        <p:nvSpPr>
          <p:cNvPr id="29" name="Text Placeholder 2"/>
          <p:cNvSpPr>
            <a:spLocks noGrp="1"/>
          </p:cNvSpPr>
          <p:nvPr>
            <p:ph type="body" sz="quarter" idx="11"/>
          </p:nvPr>
        </p:nvSpPr>
        <p:spPr>
          <a:xfrm>
            <a:off x="208893" y="1028700"/>
            <a:ext cx="3397907" cy="3929764"/>
          </a:xfrm>
          <a:prstGeom prst="rect">
            <a:avLst/>
          </a:prstGeom>
        </p:spPr>
        <p:txBody>
          <a:bodyPr vert="horz"/>
          <a:lstStyle>
            <a:lvl1pPr marL="0" indent="0">
              <a:lnSpc>
                <a:spcPts val="1500"/>
              </a:lnSpc>
              <a:spcBef>
                <a:spcPts val="0"/>
              </a:spcBef>
              <a:spcAft>
                <a:spcPts val="600"/>
              </a:spcAft>
              <a:buClr>
                <a:schemeClr val="accent1"/>
              </a:buClr>
              <a:buNone/>
              <a:defRPr sz="1200" spc="-30" baseline="0">
                <a:solidFill>
                  <a:schemeClr val="tx1">
                    <a:lumMod val="85000"/>
                    <a:lumOff val="15000"/>
                  </a:schemeClr>
                </a:solidFill>
                <a:latin typeface="Arial"/>
                <a:cs typeface="Arial"/>
              </a:defRPr>
            </a:lvl1pPr>
            <a:lvl2pPr marL="91440" indent="182880">
              <a:lnSpc>
                <a:spcPts val="1700"/>
              </a:lnSpc>
              <a:spcBef>
                <a:spcPts val="0"/>
              </a:spcBef>
              <a:spcAft>
                <a:spcPts val="300"/>
              </a:spcAft>
              <a:buClr>
                <a:schemeClr val="accent1"/>
              </a:buClr>
              <a:buFont typeface="Arial" panose="020B0604020202020204" pitchFamily="34" charset="0"/>
              <a:buChar char="•"/>
              <a:defRPr sz="1200" spc="-30" baseline="0">
                <a:solidFill>
                  <a:schemeClr val="tx1">
                    <a:lumMod val="85000"/>
                    <a:lumOff val="15000"/>
                  </a:schemeClr>
                </a:solidFill>
                <a:latin typeface="Arial"/>
                <a:cs typeface="Arial"/>
              </a:defRPr>
            </a:lvl2pPr>
            <a:lvl3pPr marL="91440" indent="182880">
              <a:lnSpc>
                <a:spcPts val="1700"/>
              </a:lnSpc>
              <a:spcBef>
                <a:spcPts val="0"/>
              </a:spcBef>
              <a:spcAft>
                <a:spcPts val="600"/>
              </a:spcAft>
              <a:buClr>
                <a:schemeClr val="accent1"/>
              </a:buClr>
              <a:defRPr sz="1300" spc="-30">
                <a:solidFill>
                  <a:schemeClr val="tx1">
                    <a:lumMod val="85000"/>
                    <a:lumOff val="15000"/>
                  </a:schemeClr>
                </a:solidFill>
                <a:latin typeface="Arial"/>
                <a:cs typeface="Arial"/>
              </a:defRPr>
            </a:lvl3pPr>
            <a:lvl4pPr marL="285750" indent="171450">
              <a:spcAft>
                <a:spcPts val="300"/>
              </a:spcAft>
              <a:buClr>
                <a:schemeClr val="accent1"/>
              </a:buClr>
              <a:buFont typeface="Arial" panose="020B0604020202020204" pitchFamily="34" charset="0"/>
              <a:buChar char="•"/>
              <a:defRPr sz="1200" spc="-30" baseline="0">
                <a:solidFill>
                  <a:schemeClr val="tx1">
                    <a:lumMod val="75000"/>
                    <a:lumOff val="25000"/>
                  </a:schemeClr>
                </a:solidFill>
                <a:latin typeface="Arial"/>
                <a:cs typeface="Arial"/>
              </a:defRPr>
            </a:lvl4pPr>
            <a:lvl5pPr marL="457200" indent="228600">
              <a:spcAft>
                <a:spcPts val="300"/>
              </a:spcAft>
              <a:buClr>
                <a:schemeClr val="accent1"/>
              </a:buClr>
              <a:buFont typeface="Arial" panose="020B0604020202020204" pitchFamily="34" charset="0"/>
              <a:buChar char="•"/>
              <a:defRPr sz="1200" spc="-30" baseline="0">
                <a:solidFill>
                  <a:schemeClr val="tx1">
                    <a:lumMod val="75000"/>
                    <a:lumOff val="25000"/>
                  </a:schemeClr>
                </a:solidFill>
                <a:latin typeface="Arial"/>
                <a:cs typeface="Arial"/>
              </a:defRPr>
            </a:lvl5p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31" name="Content Placeholder 18"/>
          <p:cNvSpPr>
            <a:spLocks noGrp="1"/>
          </p:cNvSpPr>
          <p:nvPr>
            <p:ph sz="quarter" idx="12"/>
          </p:nvPr>
        </p:nvSpPr>
        <p:spPr>
          <a:xfrm>
            <a:off x="3842385" y="995364"/>
            <a:ext cx="5212080" cy="3963100"/>
          </a:xfrm>
          <a:prstGeom prst="rect">
            <a:avLst/>
          </a:prstGeom>
        </p:spPr>
        <p:txBody>
          <a:bodyPr vert="horz"/>
          <a:lstStyle>
            <a:lvl1pPr marL="0" indent="0">
              <a:buNone/>
              <a:defRPr sz="1600" spc="-50">
                <a:solidFill>
                  <a:srgbClr val="FFFFFF"/>
                </a:solidFill>
                <a:latin typeface="Arial"/>
                <a:cs typeface="Arial"/>
              </a:defRPr>
            </a:lvl1pPr>
            <a:lvl2pPr marL="0" indent="-182880">
              <a:buFont typeface="Arial"/>
              <a:buChar char="•"/>
              <a:defRPr sz="1600" spc="-50">
                <a:solidFill>
                  <a:srgbClr val="FFFFFF"/>
                </a:solidFill>
                <a:latin typeface="Arial"/>
                <a:cs typeface="Arial"/>
              </a:defRPr>
            </a:lvl2pPr>
            <a:lvl3pPr marL="411480">
              <a:spcBef>
                <a:spcPts val="400"/>
              </a:spcBef>
              <a:defRPr sz="1600" spc="-50">
                <a:solidFill>
                  <a:srgbClr val="FFFFFF"/>
                </a:solidFill>
                <a:latin typeface="Arial"/>
                <a:cs typeface="Arial"/>
              </a:defRPr>
            </a:lvl3pPr>
            <a:lvl4pPr marL="502920" indent="-228600">
              <a:buFont typeface="Arial" panose="020B0604020202020204" pitchFamily="34" charset="0"/>
              <a:buChar char="•"/>
              <a:defRPr lang="en-US" sz="1600" kern="1200" spc="-50" dirty="0" smtClean="0">
                <a:solidFill>
                  <a:srgbClr val="FFFFFF"/>
                </a:solidFill>
                <a:latin typeface="Arial"/>
                <a:ea typeface="+mn-ea"/>
                <a:cs typeface="Arial"/>
              </a:defRPr>
            </a:lvl4pPr>
            <a:lvl5pPr marL="594360" indent="-228600">
              <a:buFont typeface="Arial"/>
              <a:buChar char="•"/>
              <a:defRPr sz="1400" spc="-10">
                <a:solidFill>
                  <a:schemeClr val="tx1">
                    <a:lumMod val="85000"/>
                    <a:lumOff val="15000"/>
                  </a:schemeClr>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Slide Number Placeholder 17"/>
          <p:cNvSpPr txBox="1">
            <a:spLocks/>
          </p:cNvSpPr>
          <p:nvPr userDrawn="1"/>
        </p:nvSpPr>
        <p:spPr>
          <a:xfrm>
            <a:off x="8741027" y="4958464"/>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mtClean="0">
                <a:solidFill>
                  <a:prstClr val="white">
                    <a:lumMod val="85000"/>
                  </a:prstClr>
                </a:solidFill>
              </a:rPr>
              <a:pPr algn="r"/>
              <a:t>‹#›</a:t>
            </a:fld>
            <a:endParaRPr lang="en-US" dirty="0">
              <a:solidFill>
                <a:prstClr val="white">
                  <a:lumMod val="85000"/>
                </a:prstClr>
              </a:solidFill>
            </a:endParaRPr>
          </a:p>
        </p:txBody>
      </p:sp>
      <p:sp>
        <p:nvSpPr>
          <p:cNvPr id="10" name="Text Placeholder 2"/>
          <p:cNvSpPr>
            <a:spLocks noGrp="1"/>
          </p:cNvSpPr>
          <p:nvPr>
            <p:ph type="body" sz="quarter" idx="13" hasCustomPrompt="1"/>
          </p:nvPr>
        </p:nvSpPr>
        <p:spPr>
          <a:xfrm>
            <a:off x="3752850" y="581025"/>
            <a:ext cx="5391150" cy="420839"/>
          </a:xfrm>
          <a:prstGeom prst="rect">
            <a:avLst/>
          </a:prstGeom>
        </p:spPr>
        <p:txBody>
          <a:bodyPr anchor="t"/>
          <a:lstStyle>
            <a:lvl1pPr marL="0" indent="0" algn="ctr">
              <a:spcBef>
                <a:spcPts val="0"/>
              </a:spcBef>
              <a:buNone/>
              <a:defRPr sz="1100" b="1" spc="-20" baseline="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a:t>Click To Edit Master Text Styles</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58200" y="-8889"/>
            <a:ext cx="466330" cy="466762"/>
          </a:xfrm>
          <a:prstGeom prst="rect">
            <a:avLst/>
          </a:prstGeom>
        </p:spPr>
      </p:pic>
    </p:spTree>
    <p:extLst>
      <p:ext uri="{BB962C8B-B14F-4D97-AF65-F5344CB8AC3E}">
        <p14:creationId xmlns:p14="http://schemas.microsoft.com/office/powerpoint/2010/main" val="1119195143"/>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7" Type="http://schemas.openxmlformats.org/officeDocument/2006/relationships/image" Target="../media/image2.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9" Type="http://schemas.openxmlformats.org/officeDocument/2006/relationships/slideLayout" Target="../slideLayouts/slideLayout77.xml"/><Relationship Id="rId20" Type="http://schemas.openxmlformats.org/officeDocument/2006/relationships/oleObject" Target="../embeddings/oleObject4.bin"/><Relationship Id="rId21" Type="http://schemas.openxmlformats.org/officeDocument/2006/relationships/image" Target="../media/image1.emf"/><Relationship Id="rId22" Type="http://schemas.openxmlformats.org/officeDocument/2006/relationships/image" Target="../media/image2.jpeg"/><Relationship Id="rId10" Type="http://schemas.openxmlformats.org/officeDocument/2006/relationships/slideLayout" Target="../slideLayouts/slideLayout78.xml"/><Relationship Id="rId11" Type="http://schemas.openxmlformats.org/officeDocument/2006/relationships/slideLayout" Target="../slideLayouts/slideLayout79.xml"/><Relationship Id="rId12" Type="http://schemas.openxmlformats.org/officeDocument/2006/relationships/slideLayout" Target="../slideLayouts/slideLayout80.xml"/><Relationship Id="rId13" Type="http://schemas.openxmlformats.org/officeDocument/2006/relationships/slideLayout" Target="../slideLayouts/slideLayout81.xml"/><Relationship Id="rId14" Type="http://schemas.openxmlformats.org/officeDocument/2006/relationships/slideLayout" Target="../slideLayouts/slideLayout82.xml"/><Relationship Id="rId15" Type="http://schemas.openxmlformats.org/officeDocument/2006/relationships/slideLayout" Target="../slideLayouts/slideLayout83.xml"/><Relationship Id="rId16" Type="http://schemas.openxmlformats.org/officeDocument/2006/relationships/slideLayout" Target="../slideLayouts/slideLayout84.xml"/><Relationship Id="rId17" Type="http://schemas.openxmlformats.org/officeDocument/2006/relationships/theme" Target="../theme/theme10.xml"/><Relationship Id="rId18" Type="http://schemas.openxmlformats.org/officeDocument/2006/relationships/vmlDrawing" Target="../drawings/vmlDrawing4.vml"/><Relationship Id="rId19" Type="http://schemas.openxmlformats.org/officeDocument/2006/relationships/tags" Target="../tags/tag5.xml"/><Relationship Id="rId1" Type="http://schemas.openxmlformats.org/officeDocument/2006/relationships/slideLayout" Target="../slideLayouts/slideLayout69.xml"/><Relationship Id="rId2" Type="http://schemas.openxmlformats.org/officeDocument/2006/relationships/slideLayout" Target="../slideLayouts/slideLayout70.xml"/><Relationship Id="rId3" Type="http://schemas.openxmlformats.org/officeDocument/2006/relationships/slideLayout" Target="../slideLayouts/slideLayout71.xml"/><Relationship Id="rId4" Type="http://schemas.openxmlformats.org/officeDocument/2006/relationships/slideLayout" Target="../slideLayouts/slideLayout72.xml"/><Relationship Id="rId5" Type="http://schemas.openxmlformats.org/officeDocument/2006/relationships/slideLayout" Target="../slideLayouts/slideLayout73.xml"/><Relationship Id="rId6" Type="http://schemas.openxmlformats.org/officeDocument/2006/relationships/slideLayout" Target="../slideLayouts/slideLayout74.xml"/><Relationship Id="rId7" Type="http://schemas.openxmlformats.org/officeDocument/2006/relationships/slideLayout" Target="../slideLayouts/slideLayout75.xml"/><Relationship Id="rId8" Type="http://schemas.openxmlformats.org/officeDocument/2006/relationships/slideLayout" Target="../slideLayouts/slideLayout76.xml"/></Relationships>
</file>

<file path=ppt/slideMasters/_rels/slideMaster11.xml.rels><?xml version="1.0" encoding="UTF-8" standalone="yes"?>
<Relationships xmlns="http://schemas.openxmlformats.org/package/2006/relationships"><Relationship Id="rId9" Type="http://schemas.openxmlformats.org/officeDocument/2006/relationships/slideLayout" Target="../slideLayouts/slideLayout93.xml"/><Relationship Id="rId20" Type="http://schemas.openxmlformats.org/officeDocument/2006/relationships/tags" Target="../tags/tag6.xml"/><Relationship Id="rId21" Type="http://schemas.openxmlformats.org/officeDocument/2006/relationships/oleObject" Target="../embeddings/oleObject5.bin"/><Relationship Id="rId22" Type="http://schemas.openxmlformats.org/officeDocument/2006/relationships/image" Target="../media/image1.emf"/><Relationship Id="rId23" Type="http://schemas.openxmlformats.org/officeDocument/2006/relationships/image" Target="../media/image2.jpeg"/><Relationship Id="rId10" Type="http://schemas.openxmlformats.org/officeDocument/2006/relationships/slideLayout" Target="../slideLayouts/slideLayout94.xml"/><Relationship Id="rId11" Type="http://schemas.openxmlformats.org/officeDocument/2006/relationships/slideLayout" Target="../slideLayouts/slideLayout95.xml"/><Relationship Id="rId12" Type="http://schemas.openxmlformats.org/officeDocument/2006/relationships/slideLayout" Target="../slideLayouts/slideLayout96.xml"/><Relationship Id="rId13" Type="http://schemas.openxmlformats.org/officeDocument/2006/relationships/slideLayout" Target="../slideLayouts/slideLayout97.xml"/><Relationship Id="rId14" Type="http://schemas.openxmlformats.org/officeDocument/2006/relationships/slideLayout" Target="../slideLayouts/slideLayout98.xml"/><Relationship Id="rId15" Type="http://schemas.openxmlformats.org/officeDocument/2006/relationships/slideLayout" Target="../slideLayouts/slideLayout99.xml"/><Relationship Id="rId16" Type="http://schemas.openxmlformats.org/officeDocument/2006/relationships/slideLayout" Target="../slideLayouts/slideLayout100.xml"/><Relationship Id="rId17" Type="http://schemas.openxmlformats.org/officeDocument/2006/relationships/slideLayout" Target="../slideLayouts/slideLayout101.xml"/><Relationship Id="rId18" Type="http://schemas.openxmlformats.org/officeDocument/2006/relationships/theme" Target="../theme/theme11.xml"/><Relationship Id="rId19" Type="http://schemas.openxmlformats.org/officeDocument/2006/relationships/vmlDrawing" Target="../drawings/vmlDrawing5.vml"/><Relationship Id="rId1" Type="http://schemas.openxmlformats.org/officeDocument/2006/relationships/slideLayout" Target="../slideLayouts/slideLayout85.xml"/><Relationship Id="rId2" Type="http://schemas.openxmlformats.org/officeDocument/2006/relationships/slideLayout" Target="../slideLayouts/slideLayout86.xml"/><Relationship Id="rId3" Type="http://schemas.openxmlformats.org/officeDocument/2006/relationships/slideLayout" Target="../slideLayouts/slideLayout87.xml"/><Relationship Id="rId4" Type="http://schemas.openxmlformats.org/officeDocument/2006/relationships/slideLayout" Target="../slideLayouts/slideLayout88.xml"/><Relationship Id="rId5" Type="http://schemas.openxmlformats.org/officeDocument/2006/relationships/slideLayout" Target="../slideLayouts/slideLayout89.xml"/><Relationship Id="rId6" Type="http://schemas.openxmlformats.org/officeDocument/2006/relationships/slideLayout" Target="../slideLayouts/slideLayout90.xml"/><Relationship Id="rId7" Type="http://schemas.openxmlformats.org/officeDocument/2006/relationships/slideLayout" Target="../slideLayouts/slideLayout91.xml"/><Relationship Id="rId8" Type="http://schemas.openxmlformats.org/officeDocument/2006/relationships/slideLayout" Target="../slideLayouts/slideLayout92.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12.xml"/><Relationship Id="rId12" Type="http://schemas.openxmlformats.org/officeDocument/2006/relationships/theme" Target="../theme/theme12.xml"/><Relationship Id="rId13" Type="http://schemas.openxmlformats.org/officeDocument/2006/relationships/image" Target="../media/image12.jpeg"/><Relationship Id="rId1" Type="http://schemas.openxmlformats.org/officeDocument/2006/relationships/slideLayout" Target="../slideLayouts/slideLayout102.xml"/><Relationship Id="rId2" Type="http://schemas.openxmlformats.org/officeDocument/2006/relationships/slideLayout" Target="../slideLayouts/slideLayout103.xml"/><Relationship Id="rId3" Type="http://schemas.openxmlformats.org/officeDocument/2006/relationships/slideLayout" Target="../slideLayouts/slideLayout104.xml"/><Relationship Id="rId4" Type="http://schemas.openxmlformats.org/officeDocument/2006/relationships/slideLayout" Target="../slideLayouts/slideLayout105.xml"/><Relationship Id="rId5" Type="http://schemas.openxmlformats.org/officeDocument/2006/relationships/slideLayout" Target="../slideLayouts/slideLayout106.xml"/><Relationship Id="rId6" Type="http://schemas.openxmlformats.org/officeDocument/2006/relationships/slideLayout" Target="../slideLayouts/slideLayout107.xml"/><Relationship Id="rId7" Type="http://schemas.openxmlformats.org/officeDocument/2006/relationships/slideLayout" Target="../slideLayouts/slideLayout108.xml"/><Relationship Id="rId8" Type="http://schemas.openxmlformats.org/officeDocument/2006/relationships/slideLayout" Target="../slideLayouts/slideLayout109.xml"/><Relationship Id="rId9" Type="http://schemas.openxmlformats.org/officeDocument/2006/relationships/slideLayout" Target="../slideLayouts/slideLayout110.xml"/><Relationship Id="rId10" Type="http://schemas.openxmlformats.org/officeDocument/2006/relationships/slideLayout" Target="../slideLayouts/slideLayout111.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15.xml"/><Relationship Id="rId4" Type="http://schemas.openxmlformats.org/officeDocument/2006/relationships/slideLayout" Target="../slideLayouts/slideLayout116.xml"/><Relationship Id="rId5" Type="http://schemas.openxmlformats.org/officeDocument/2006/relationships/slideLayout" Target="../slideLayouts/slideLayout117.xml"/><Relationship Id="rId6" Type="http://schemas.openxmlformats.org/officeDocument/2006/relationships/slideLayout" Target="../slideLayouts/slideLayout118.xml"/><Relationship Id="rId7" Type="http://schemas.openxmlformats.org/officeDocument/2006/relationships/slideLayout" Target="../slideLayouts/slideLayout119.xml"/><Relationship Id="rId8" Type="http://schemas.openxmlformats.org/officeDocument/2006/relationships/slideLayout" Target="../slideLayouts/slideLayout120.xml"/><Relationship Id="rId9" Type="http://schemas.openxmlformats.org/officeDocument/2006/relationships/theme" Target="../theme/theme13.xml"/><Relationship Id="rId10" Type="http://schemas.openxmlformats.org/officeDocument/2006/relationships/image" Target="../media/image16.jpeg"/><Relationship Id="rId1" Type="http://schemas.openxmlformats.org/officeDocument/2006/relationships/slideLayout" Target="../slideLayouts/slideLayout113.xml"/><Relationship Id="rId2" Type="http://schemas.openxmlformats.org/officeDocument/2006/relationships/slideLayout" Target="../slideLayouts/slideLayout114.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131.xml"/><Relationship Id="rId12" Type="http://schemas.openxmlformats.org/officeDocument/2006/relationships/theme" Target="../theme/theme14.xml"/><Relationship Id="rId13" Type="http://schemas.openxmlformats.org/officeDocument/2006/relationships/image" Target="../media/image16.jpeg"/><Relationship Id="rId1" Type="http://schemas.openxmlformats.org/officeDocument/2006/relationships/slideLayout" Target="../slideLayouts/slideLayout121.xml"/><Relationship Id="rId2" Type="http://schemas.openxmlformats.org/officeDocument/2006/relationships/slideLayout" Target="../slideLayouts/slideLayout122.xml"/><Relationship Id="rId3" Type="http://schemas.openxmlformats.org/officeDocument/2006/relationships/slideLayout" Target="../slideLayouts/slideLayout123.xml"/><Relationship Id="rId4" Type="http://schemas.openxmlformats.org/officeDocument/2006/relationships/slideLayout" Target="../slideLayouts/slideLayout124.xml"/><Relationship Id="rId5" Type="http://schemas.openxmlformats.org/officeDocument/2006/relationships/slideLayout" Target="../slideLayouts/slideLayout125.xml"/><Relationship Id="rId6" Type="http://schemas.openxmlformats.org/officeDocument/2006/relationships/slideLayout" Target="../slideLayouts/slideLayout126.xml"/><Relationship Id="rId7" Type="http://schemas.openxmlformats.org/officeDocument/2006/relationships/slideLayout" Target="../slideLayouts/slideLayout127.xml"/><Relationship Id="rId8" Type="http://schemas.openxmlformats.org/officeDocument/2006/relationships/slideLayout" Target="../slideLayouts/slideLayout128.xml"/><Relationship Id="rId9" Type="http://schemas.openxmlformats.org/officeDocument/2006/relationships/slideLayout" Target="../slideLayouts/slideLayout129.xml"/><Relationship Id="rId10" Type="http://schemas.openxmlformats.org/officeDocument/2006/relationships/slideLayout" Target="../slideLayouts/slideLayout130.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34.xml"/><Relationship Id="rId4" Type="http://schemas.openxmlformats.org/officeDocument/2006/relationships/slideLayout" Target="../slideLayouts/slideLayout135.xml"/><Relationship Id="rId5" Type="http://schemas.openxmlformats.org/officeDocument/2006/relationships/slideLayout" Target="../slideLayouts/slideLayout136.xml"/><Relationship Id="rId6" Type="http://schemas.openxmlformats.org/officeDocument/2006/relationships/theme" Target="../theme/theme15.xml"/><Relationship Id="rId1" Type="http://schemas.openxmlformats.org/officeDocument/2006/relationships/slideLayout" Target="../slideLayouts/slideLayout132.xml"/><Relationship Id="rId2" Type="http://schemas.openxmlformats.org/officeDocument/2006/relationships/slideLayout" Target="../slideLayouts/slideLayout133.xml"/></Relationships>
</file>

<file path=ppt/slideMasters/_rels/slideMaster16.xml.rels><?xml version="1.0" encoding="UTF-8" standalone="yes"?>
<Relationships xmlns="http://schemas.openxmlformats.org/package/2006/relationships"><Relationship Id="rId11" Type="http://schemas.openxmlformats.org/officeDocument/2006/relationships/slideLayout" Target="../slideLayouts/slideLayout147.xml"/><Relationship Id="rId12" Type="http://schemas.openxmlformats.org/officeDocument/2006/relationships/theme" Target="../theme/theme16.xml"/><Relationship Id="rId13" Type="http://schemas.openxmlformats.org/officeDocument/2006/relationships/image" Target="../media/image12.jpeg"/><Relationship Id="rId1" Type="http://schemas.openxmlformats.org/officeDocument/2006/relationships/slideLayout" Target="../slideLayouts/slideLayout137.xml"/><Relationship Id="rId2" Type="http://schemas.openxmlformats.org/officeDocument/2006/relationships/slideLayout" Target="../slideLayouts/slideLayout138.xml"/><Relationship Id="rId3" Type="http://schemas.openxmlformats.org/officeDocument/2006/relationships/slideLayout" Target="../slideLayouts/slideLayout139.xml"/><Relationship Id="rId4" Type="http://schemas.openxmlformats.org/officeDocument/2006/relationships/slideLayout" Target="../slideLayouts/slideLayout140.xml"/><Relationship Id="rId5" Type="http://schemas.openxmlformats.org/officeDocument/2006/relationships/slideLayout" Target="../slideLayouts/slideLayout141.xml"/><Relationship Id="rId6" Type="http://schemas.openxmlformats.org/officeDocument/2006/relationships/slideLayout" Target="../slideLayouts/slideLayout142.xml"/><Relationship Id="rId7" Type="http://schemas.openxmlformats.org/officeDocument/2006/relationships/slideLayout" Target="../slideLayouts/slideLayout143.xml"/><Relationship Id="rId8" Type="http://schemas.openxmlformats.org/officeDocument/2006/relationships/slideLayout" Target="../slideLayouts/slideLayout144.xml"/><Relationship Id="rId9" Type="http://schemas.openxmlformats.org/officeDocument/2006/relationships/slideLayout" Target="../slideLayouts/slideLayout145.xml"/><Relationship Id="rId10" Type="http://schemas.openxmlformats.org/officeDocument/2006/relationships/slideLayout" Target="../slideLayouts/slideLayout146.xml"/></Relationships>
</file>

<file path=ppt/slideMasters/_rels/slideMaster17.xml.rels><?xml version="1.0" encoding="UTF-8" standalone="yes"?>
<Relationships xmlns="http://schemas.openxmlformats.org/package/2006/relationships"><Relationship Id="rId11" Type="http://schemas.openxmlformats.org/officeDocument/2006/relationships/slideLayout" Target="../slideLayouts/slideLayout158.xml"/><Relationship Id="rId12" Type="http://schemas.openxmlformats.org/officeDocument/2006/relationships/slideLayout" Target="../slideLayouts/slideLayout159.xml"/><Relationship Id="rId13" Type="http://schemas.openxmlformats.org/officeDocument/2006/relationships/theme" Target="../theme/theme17.xml"/><Relationship Id="rId14" Type="http://schemas.openxmlformats.org/officeDocument/2006/relationships/vmlDrawing" Target="../drawings/vmlDrawing6.vml"/><Relationship Id="rId15" Type="http://schemas.openxmlformats.org/officeDocument/2006/relationships/tags" Target="../tags/tag7.xml"/><Relationship Id="rId16" Type="http://schemas.openxmlformats.org/officeDocument/2006/relationships/oleObject" Target="../embeddings/oleObject6.bin"/><Relationship Id="rId17" Type="http://schemas.openxmlformats.org/officeDocument/2006/relationships/image" Target="../media/image1.emf"/><Relationship Id="rId18" Type="http://schemas.openxmlformats.org/officeDocument/2006/relationships/image" Target="../media/image2.jpeg"/><Relationship Id="rId1" Type="http://schemas.openxmlformats.org/officeDocument/2006/relationships/slideLayout" Target="../slideLayouts/slideLayout148.xml"/><Relationship Id="rId2" Type="http://schemas.openxmlformats.org/officeDocument/2006/relationships/slideLayout" Target="../slideLayouts/slideLayout149.xml"/><Relationship Id="rId3" Type="http://schemas.openxmlformats.org/officeDocument/2006/relationships/slideLayout" Target="../slideLayouts/slideLayout150.xml"/><Relationship Id="rId4" Type="http://schemas.openxmlformats.org/officeDocument/2006/relationships/slideLayout" Target="../slideLayouts/slideLayout151.xml"/><Relationship Id="rId5" Type="http://schemas.openxmlformats.org/officeDocument/2006/relationships/slideLayout" Target="../slideLayouts/slideLayout152.xml"/><Relationship Id="rId6" Type="http://schemas.openxmlformats.org/officeDocument/2006/relationships/slideLayout" Target="../slideLayouts/slideLayout153.xml"/><Relationship Id="rId7" Type="http://schemas.openxmlformats.org/officeDocument/2006/relationships/slideLayout" Target="../slideLayouts/slideLayout154.xml"/><Relationship Id="rId8" Type="http://schemas.openxmlformats.org/officeDocument/2006/relationships/slideLayout" Target="../slideLayouts/slideLayout155.xml"/><Relationship Id="rId9" Type="http://schemas.openxmlformats.org/officeDocument/2006/relationships/slideLayout" Target="../slideLayouts/slideLayout156.xml"/><Relationship Id="rId10" Type="http://schemas.openxmlformats.org/officeDocument/2006/relationships/slideLayout" Target="../slideLayouts/slideLayout157.xml"/></Relationships>
</file>

<file path=ppt/slideMasters/_rels/slideMaster18.xml.rels><?xml version="1.0" encoding="UTF-8" standalone="yes"?>
<Relationships xmlns="http://schemas.openxmlformats.org/package/2006/relationships"><Relationship Id="rId11" Type="http://schemas.openxmlformats.org/officeDocument/2006/relationships/slideLayout" Target="../slideLayouts/slideLayout170.xml"/><Relationship Id="rId12" Type="http://schemas.openxmlformats.org/officeDocument/2006/relationships/theme" Target="../theme/theme18.xml"/><Relationship Id="rId13" Type="http://schemas.openxmlformats.org/officeDocument/2006/relationships/image" Target="../media/image12.jpeg"/><Relationship Id="rId1" Type="http://schemas.openxmlformats.org/officeDocument/2006/relationships/slideLayout" Target="../slideLayouts/slideLayout160.xml"/><Relationship Id="rId2" Type="http://schemas.openxmlformats.org/officeDocument/2006/relationships/slideLayout" Target="../slideLayouts/slideLayout161.xml"/><Relationship Id="rId3" Type="http://schemas.openxmlformats.org/officeDocument/2006/relationships/slideLayout" Target="../slideLayouts/slideLayout162.xml"/><Relationship Id="rId4" Type="http://schemas.openxmlformats.org/officeDocument/2006/relationships/slideLayout" Target="../slideLayouts/slideLayout163.xml"/><Relationship Id="rId5" Type="http://schemas.openxmlformats.org/officeDocument/2006/relationships/slideLayout" Target="../slideLayouts/slideLayout164.xml"/><Relationship Id="rId6" Type="http://schemas.openxmlformats.org/officeDocument/2006/relationships/slideLayout" Target="../slideLayouts/slideLayout165.xml"/><Relationship Id="rId7" Type="http://schemas.openxmlformats.org/officeDocument/2006/relationships/slideLayout" Target="../slideLayouts/slideLayout166.xml"/><Relationship Id="rId8" Type="http://schemas.openxmlformats.org/officeDocument/2006/relationships/slideLayout" Target="../slideLayouts/slideLayout167.xml"/><Relationship Id="rId9" Type="http://schemas.openxmlformats.org/officeDocument/2006/relationships/slideLayout" Target="../slideLayouts/slideLayout168.xml"/><Relationship Id="rId10" Type="http://schemas.openxmlformats.org/officeDocument/2006/relationships/slideLayout" Target="../slideLayouts/slideLayout169.xml"/></Relationships>
</file>

<file path=ppt/slideMasters/_rels/slideMaster19.xml.rels><?xml version="1.0" encoding="UTF-8" standalone="yes"?>
<Relationships xmlns="http://schemas.openxmlformats.org/package/2006/relationships"><Relationship Id="rId11" Type="http://schemas.openxmlformats.org/officeDocument/2006/relationships/slideLayout" Target="../slideLayouts/slideLayout181.xml"/><Relationship Id="rId12" Type="http://schemas.openxmlformats.org/officeDocument/2006/relationships/slideLayout" Target="../slideLayouts/slideLayout182.xml"/><Relationship Id="rId13" Type="http://schemas.openxmlformats.org/officeDocument/2006/relationships/slideLayout" Target="../slideLayouts/slideLayout183.xml"/><Relationship Id="rId14" Type="http://schemas.openxmlformats.org/officeDocument/2006/relationships/theme" Target="../theme/theme19.xml"/><Relationship Id="rId15" Type="http://schemas.openxmlformats.org/officeDocument/2006/relationships/vmlDrawing" Target="../drawings/vmlDrawing7.vml"/><Relationship Id="rId16" Type="http://schemas.openxmlformats.org/officeDocument/2006/relationships/tags" Target="../tags/tag8.xml"/><Relationship Id="rId17" Type="http://schemas.openxmlformats.org/officeDocument/2006/relationships/oleObject" Target="../embeddings/oleObject7.bin"/><Relationship Id="rId18" Type="http://schemas.openxmlformats.org/officeDocument/2006/relationships/image" Target="../media/image1.emf"/><Relationship Id="rId19" Type="http://schemas.openxmlformats.org/officeDocument/2006/relationships/image" Target="../media/image2.jpeg"/><Relationship Id="rId1" Type="http://schemas.openxmlformats.org/officeDocument/2006/relationships/slideLayout" Target="../slideLayouts/slideLayout171.xml"/><Relationship Id="rId2" Type="http://schemas.openxmlformats.org/officeDocument/2006/relationships/slideLayout" Target="../slideLayouts/slideLayout172.xml"/><Relationship Id="rId3" Type="http://schemas.openxmlformats.org/officeDocument/2006/relationships/slideLayout" Target="../slideLayouts/slideLayout173.xml"/><Relationship Id="rId4" Type="http://schemas.openxmlformats.org/officeDocument/2006/relationships/slideLayout" Target="../slideLayouts/slideLayout174.xml"/><Relationship Id="rId5" Type="http://schemas.openxmlformats.org/officeDocument/2006/relationships/slideLayout" Target="../slideLayouts/slideLayout175.xml"/><Relationship Id="rId6" Type="http://schemas.openxmlformats.org/officeDocument/2006/relationships/slideLayout" Target="../slideLayouts/slideLayout176.xml"/><Relationship Id="rId7" Type="http://schemas.openxmlformats.org/officeDocument/2006/relationships/slideLayout" Target="../slideLayouts/slideLayout177.xml"/><Relationship Id="rId8" Type="http://schemas.openxmlformats.org/officeDocument/2006/relationships/slideLayout" Target="../slideLayouts/slideLayout178.xml"/><Relationship Id="rId9" Type="http://schemas.openxmlformats.org/officeDocument/2006/relationships/slideLayout" Target="../slideLayouts/slideLayout179.xml"/><Relationship Id="rId10" Type="http://schemas.openxmlformats.org/officeDocument/2006/relationships/slideLayout" Target="../slideLayouts/slideLayout18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4" Type="http://schemas.openxmlformats.org/officeDocument/2006/relationships/image" Target="../media/image3.jpg"/><Relationship Id="rId1" Type="http://schemas.openxmlformats.org/officeDocument/2006/relationships/slideLayout" Target="../slideLayouts/slideLayout12.xml"/><Relationship Id="rId2" Type="http://schemas.openxmlformats.org/officeDocument/2006/relationships/slideLayout" Target="../slideLayouts/slideLayout13.xml"/></Relationships>
</file>

<file path=ppt/slideMasters/_rels/slideMaster20.xml.rels><?xml version="1.0" encoding="UTF-8" standalone="yes"?>
<Relationships xmlns="http://schemas.openxmlformats.org/package/2006/relationships"><Relationship Id="rId11" Type="http://schemas.openxmlformats.org/officeDocument/2006/relationships/slideLayout" Target="../slideLayouts/slideLayout194.xml"/><Relationship Id="rId12" Type="http://schemas.openxmlformats.org/officeDocument/2006/relationships/theme" Target="../theme/theme20.xml"/><Relationship Id="rId13" Type="http://schemas.openxmlformats.org/officeDocument/2006/relationships/image" Target="../media/image12.jpeg"/><Relationship Id="rId1" Type="http://schemas.openxmlformats.org/officeDocument/2006/relationships/slideLayout" Target="../slideLayouts/slideLayout184.xml"/><Relationship Id="rId2" Type="http://schemas.openxmlformats.org/officeDocument/2006/relationships/slideLayout" Target="../slideLayouts/slideLayout185.xml"/><Relationship Id="rId3" Type="http://schemas.openxmlformats.org/officeDocument/2006/relationships/slideLayout" Target="../slideLayouts/slideLayout186.xml"/><Relationship Id="rId4" Type="http://schemas.openxmlformats.org/officeDocument/2006/relationships/slideLayout" Target="../slideLayouts/slideLayout187.xml"/><Relationship Id="rId5" Type="http://schemas.openxmlformats.org/officeDocument/2006/relationships/slideLayout" Target="../slideLayouts/slideLayout188.xml"/><Relationship Id="rId6" Type="http://schemas.openxmlformats.org/officeDocument/2006/relationships/slideLayout" Target="../slideLayouts/slideLayout189.xml"/><Relationship Id="rId7" Type="http://schemas.openxmlformats.org/officeDocument/2006/relationships/slideLayout" Target="../slideLayouts/slideLayout190.xml"/><Relationship Id="rId8" Type="http://schemas.openxmlformats.org/officeDocument/2006/relationships/slideLayout" Target="../slideLayouts/slideLayout191.xml"/><Relationship Id="rId9" Type="http://schemas.openxmlformats.org/officeDocument/2006/relationships/slideLayout" Target="../slideLayouts/slideLayout192.xml"/><Relationship Id="rId10" Type="http://schemas.openxmlformats.org/officeDocument/2006/relationships/slideLayout" Target="../slideLayouts/slideLayout193.xml"/></Relationships>
</file>

<file path=ppt/slideMasters/_rels/slideMaster21.xml.rels><?xml version="1.0" encoding="UTF-8" standalone="yes"?>
<Relationships xmlns="http://schemas.openxmlformats.org/package/2006/relationships"><Relationship Id="rId11" Type="http://schemas.openxmlformats.org/officeDocument/2006/relationships/slideLayout" Target="../slideLayouts/slideLayout205.xml"/><Relationship Id="rId12" Type="http://schemas.openxmlformats.org/officeDocument/2006/relationships/slideLayout" Target="../slideLayouts/slideLayout206.xml"/><Relationship Id="rId13" Type="http://schemas.openxmlformats.org/officeDocument/2006/relationships/theme" Target="../theme/theme21.xml"/><Relationship Id="rId14" Type="http://schemas.openxmlformats.org/officeDocument/2006/relationships/vmlDrawing" Target="../drawings/vmlDrawing8.vml"/><Relationship Id="rId15" Type="http://schemas.openxmlformats.org/officeDocument/2006/relationships/tags" Target="../tags/tag9.xml"/><Relationship Id="rId16" Type="http://schemas.openxmlformats.org/officeDocument/2006/relationships/oleObject" Target="../embeddings/oleObject8.bin"/><Relationship Id="rId17" Type="http://schemas.openxmlformats.org/officeDocument/2006/relationships/image" Target="../media/image1.emf"/><Relationship Id="rId18" Type="http://schemas.openxmlformats.org/officeDocument/2006/relationships/image" Target="../media/image2.jpeg"/><Relationship Id="rId1" Type="http://schemas.openxmlformats.org/officeDocument/2006/relationships/slideLayout" Target="../slideLayouts/slideLayout195.xml"/><Relationship Id="rId2" Type="http://schemas.openxmlformats.org/officeDocument/2006/relationships/slideLayout" Target="../slideLayouts/slideLayout196.xml"/><Relationship Id="rId3" Type="http://schemas.openxmlformats.org/officeDocument/2006/relationships/slideLayout" Target="../slideLayouts/slideLayout197.xml"/><Relationship Id="rId4" Type="http://schemas.openxmlformats.org/officeDocument/2006/relationships/slideLayout" Target="../slideLayouts/slideLayout198.xml"/><Relationship Id="rId5" Type="http://schemas.openxmlformats.org/officeDocument/2006/relationships/slideLayout" Target="../slideLayouts/slideLayout199.xml"/><Relationship Id="rId6" Type="http://schemas.openxmlformats.org/officeDocument/2006/relationships/slideLayout" Target="../slideLayouts/slideLayout200.xml"/><Relationship Id="rId7" Type="http://schemas.openxmlformats.org/officeDocument/2006/relationships/slideLayout" Target="../slideLayouts/slideLayout201.xml"/><Relationship Id="rId8" Type="http://schemas.openxmlformats.org/officeDocument/2006/relationships/slideLayout" Target="../slideLayouts/slideLayout202.xml"/><Relationship Id="rId9" Type="http://schemas.openxmlformats.org/officeDocument/2006/relationships/slideLayout" Target="../slideLayouts/slideLayout203.xml"/><Relationship Id="rId10" Type="http://schemas.openxmlformats.org/officeDocument/2006/relationships/slideLayout" Target="../slideLayouts/slideLayout204.xml"/></Relationships>
</file>

<file path=ppt/slideMasters/_rels/slideMaster22.xml.rels><?xml version="1.0" encoding="UTF-8" standalone="yes"?>
<Relationships xmlns="http://schemas.openxmlformats.org/package/2006/relationships"><Relationship Id="rId11" Type="http://schemas.openxmlformats.org/officeDocument/2006/relationships/slideLayout" Target="../slideLayouts/slideLayout217.xml"/><Relationship Id="rId12" Type="http://schemas.openxmlformats.org/officeDocument/2006/relationships/slideLayout" Target="../slideLayouts/slideLayout218.xml"/><Relationship Id="rId13" Type="http://schemas.openxmlformats.org/officeDocument/2006/relationships/theme" Target="../theme/theme22.xml"/><Relationship Id="rId14" Type="http://schemas.openxmlformats.org/officeDocument/2006/relationships/vmlDrawing" Target="../drawings/vmlDrawing9.vml"/><Relationship Id="rId15" Type="http://schemas.openxmlformats.org/officeDocument/2006/relationships/tags" Target="../tags/tag10.xml"/><Relationship Id="rId16" Type="http://schemas.openxmlformats.org/officeDocument/2006/relationships/oleObject" Target="../embeddings/oleObject9.bin"/><Relationship Id="rId17" Type="http://schemas.openxmlformats.org/officeDocument/2006/relationships/image" Target="../media/image1.emf"/><Relationship Id="rId18" Type="http://schemas.openxmlformats.org/officeDocument/2006/relationships/image" Target="../media/image2.jpeg"/><Relationship Id="rId1" Type="http://schemas.openxmlformats.org/officeDocument/2006/relationships/slideLayout" Target="../slideLayouts/slideLayout207.xml"/><Relationship Id="rId2" Type="http://schemas.openxmlformats.org/officeDocument/2006/relationships/slideLayout" Target="../slideLayouts/slideLayout208.xml"/><Relationship Id="rId3" Type="http://schemas.openxmlformats.org/officeDocument/2006/relationships/slideLayout" Target="../slideLayouts/slideLayout209.xml"/><Relationship Id="rId4" Type="http://schemas.openxmlformats.org/officeDocument/2006/relationships/slideLayout" Target="../slideLayouts/slideLayout210.xml"/><Relationship Id="rId5" Type="http://schemas.openxmlformats.org/officeDocument/2006/relationships/slideLayout" Target="../slideLayouts/slideLayout211.xml"/><Relationship Id="rId6" Type="http://schemas.openxmlformats.org/officeDocument/2006/relationships/slideLayout" Target="../slideLayouts/slideLayout212.xml"/><Relationship Id="rId7" Type="http://schemas.openxmlformats.org/officeDocument/2006/relationships/slideLayout" Target="../slideLayouts/slideLayout213.xml"/><Relationship Id="rId8" Type="http://schemas.openxmlformats.org/officeDocument/2006/relationships/slideLayout" Target="../slideLayouts/slideLayout214.xml"/><Relationship Id="rId9" Type="http://schemas.openxmlformats.org/officeDocument/2006/relationships/slideLayout" Target="../slideLayouts/slideLayout215.xml"/><Relationship Id="rId10" Type="http://schemas.openxmlformats.org/officeDocument/2006/relationships/slideLayout" Target="../slideLayouts/slideLayout216.xml"/></Relationships>
</file>

<file path=ppt/slideMasters/_rels/slideMaster23.xml.rels><?xml version="1.0" encoding="UTF-8" standalone="yes"?>
<Relationships xmlns="http://schemas.openxmlformats.org/package/2006/relationships"><Relationship Id="rId11" Type="http://schemas.openxmlformats.org/officeDocument/2006/relationships/slideLayout" Target="../slideLayouts/slideLayout229.xml"/><Relationship Id="rId12" Type="http://schemas.openxmlformats.org/officeDocument/2006/relationships/theme" Target="../theme/theme23.xml"/><Relationship Id="rId13" Type="http://schemas.openxmlformats.org/officeDocument/2006/relationships/vmlDrawing" Target="../drawings/vmlDrawing10.vml"/><Relationship Id="rId14" Type="http://schemas.openxmlformats.org/officeDocument/2006/relationships/tags" Target="../tags/tag11.xml"/><Relationship Id="rId15" Type="http://schemas.openxmlformats.org/officeDocument/2006/relationships/oleObject" Target="../embeddings/oleObject10.bin"/><Relationship Id="rId16" Type="http://schemas.openxmlformats.org/officeDocument/2006/relationships/image" Target="../media/image1.emf"/><Relationship Id="rId17" Type="http://schemas.openxmlformats.org/officeDocument/2006/relationships/image" Target="../media/image2.jpeg"/><Relationship Id="rId1" Type="http://schemas.openxmlformats.org/officeDocument/2006/relationships/slideLayout" Target="../slideLayouts/slideLayout219.xml"/><Relationship Id="rId2" Type="http://schemas.openxmlformats.org/officeDocument/2006/relationships/slideLayout" Target="../slideLayouts/slideLayout220.xml"/><Relationship Id="rId3" Type="http://schemas.openxmlformats.org/officeDocument/2006/relationships/slideLayout" Target="../slideLayouts/slideLayout221.xml"/><Relationship Id="rId4" Type="http://schemas.openxmlformats.org/officeDocument/2006/relationships/slideLayout" Target="../slideLayouts/slideLayout222.xml"/><Relationship Id="rId5" Type="http://schemas.openxmlformats.org/officeDocument/2006/relationships/slideLayout" Target="../slideLayouts/slideLayout223.xml"/><Relationship Id="rId6" Type="http://schemas.openxmlformats.org/officeDocument/2006/relationships/slideLayout" Target="../slideLayouts/slideLayout224.xml"/><Relationship Id="rId7" Type="http://schemas.openxmlformats.org/officeDocument/2006/relationships/slideLayout" Target="../slideLayouts/slideLayout225.xml"/><Relationship Id="rId8" Type="http://schemas.openxmlformats.org/officeDocument/2006/relationships/slideLayout" Target="../slideLayouts/slideLayout226.xml"/><Relationship Id="rId9" Type="http://schemas.openxmlformats.org/officeDocument/2006/relationships/slideLayout" Target="../slideLayouts/slideLayout227.xml"/><Relationship Id="rId10" Type="http://schemas.openxmlformats.org/officeDocument/2006/relationships/slideLayout" Target="../slideLayouts/slideLayout228.xml"/></Relationships>
</file>

<file path=ppt/slideMasters/_rels/slideMaster24.xml.rels><?xml version="1.0" encoding="UTF-8" standalone="yes"?>
<Relationships xmlns="http://schemas.openxmlformats.org/package/2006/relationships"><Relationship Id="rId11" Type="http://schemas.openxmlformats.org/officeDocument/2006/relationships/slideLayout" Target="../slideLayouts/slideLayout240.xml"/><Relationship Id="rId12" Type="http://schemas.openxmlformats.org/officeDocument/2006/relationships/theme" Target="../theme/theme24.xml"/><Relationship Id="rId13" Type="http://schemas.openxmlformats.org/officeDocument/2006/relationships/vmlDrawing" Target="../drawings/vmlDrawing11.vml"/><Relationship Id="rId14" Type="http://schemas.openxmlformats.org/officeDocument/2006/relationships/tags" Target="../tags/tag12.xml"/><Relationship Id="rId15" Type="http://schemas.openxmlformats.org/officeDocument/2006/relationships/oleObject" Target="../embeddings/oleObject11.bin"/><Relationship Id="rId16" Type="http://schemas.openxmlformats.org/officeDocument/2006/relationships/image" Target="../media/image1.emf"/><Relationship Id="rId17" Type="http://schemas.openxmlformats.org/officeDocument/2006/relationships/image" Target="../media/image2.jpeg"/><Relationship Id="rId1" Type="http://schemas.openxmlformats.org/officeDocument/2006/relationships/slideLayout" Target="../slideLayouts/slideLayout230.xml"/><Relationship Id="rId2" Type="http://schemas.openxmlformats.org/officeDocument/2006/relationships/slideLayout" Target="../slideLayouts/slideLayout231.xml"/><Relationship Id="rId3" Type="http://schemas.openxmlformats.org/officeDocument/2006/relationships/slideLayout" Target="../slideLayouts/slideLayout232.xml"/><Relationship Id="rId4" Type="http://schemas.openxmlformats.org/officeDocument/2006/relationships/slideLayout" Target="../slideLayouts/slideLayout233.xml"/><Relationship Id="rId5" Type="http://schemas.openxmlformats.org/officeDocument/2006/relationships/slideLayout" Target="../slideLayouts/slideLayout234.xml"/><Relationship Id="rId6" Type="http://schemas.openxmlformats.org/officeDocument/2006/relationships/slideLayout" Target="../slideLayouts/slideLayout235.xml"/><Relationship Id="rId7" Type="http://schemas.openxmlformats.org/officeDocument/2006/relationships/slideLayout" Target="../slideLayouts/slideLayout236.xml"/><Relationship Id="rId8" Type="http://schemas.openxmlformats.org/officeDocument/2006/relationships/slideLayout" Target="../slideLayouts/slideLayout237.xml"/><Relationship Id="rId9" Type="http://schemas.openxmlformats.org/officeDocument/2006/relationships/slideLayout" Target="../slideLayouts/slideLayout238.xml"/><Relationship Id="rId10" Type="http://schemas.openxmlformats.org/officeDocument/2006/relationships/slideLayout" Target="../slideLayouts/slideLayout23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theme" Target="../theme/theme3.xml"/><Relationship Id="rId1" Type="http://schemas.openxmlformats.org/officeDocument/2006/relationships/slideLayout" Target="../slideLayouts/slideLayout14.xml"/><Relationship Id="rId2"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theme" Target="../theme/theme4.xml"/><Relationship Id="rId1" Type="http://schemas.openxmlformats.org/officeDocument/2006/relationships/slideLayout" Target="../slideLayouts/slideLayout20.xml"/><Relationship Id="rId2"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 Id="rId10" Type="http://schemas.openxmlformats.org/officeDocument/2006/relationships/slideLayout" Target="../slideLayouts/slideLayout35.xml"/><Relationship Id="rId11" Type="http://schemas.openxmlformats.org/officeDocument/2006/relationships/theme" Target="../theme/theme5.xml"/><Relationship Id="rId1" Type="http://schemas.openxmlformats.org/officeDocument/2006/relationships/slideLayout" Target="../slideLayouts/slideLayout26.xml"/><Relationship Id="rId2" Type="http://schemas.openxmlformats.org/officeDocument/2006/relationships/slideLayout" Target="../slideLayouts/slideLayout2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theme" Target="../theme/theme6.xml"/><Relationship Id="rId1" Type="http://schemas.openxmlformats.org/officeDocument/2006/relationships/slideLayout" Target="../slideLayouts/slideLayout36.xml"/><Relationship Id="rId2" Type="http://schemas.openxmlformats.org/officeDocument/2006/relationships/slideLayout" Target="../slideLayouts/slideLayout3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2.xml"/><Relationship Id="rId4" Type="http://schemas.openxmlformats.org/officeDocument/2006/relationships/slideLayout" Target="../slideLayouts/slideLayout43.xml"/><Relationship Id="rId5" Type="http://schemas.openxmlformats.org/officeDocument/2006/relationships/theme" Target="../theme/theme7.xml"/><Relationship Id="rId1" Type="http://schemas.openxmlformats.org/officeDocument/2006/relationships/slideLayout" Target="../slideLayouts/slideLayout40.xml"/><Relationship Id="rId2" Type="http://schemas.openxmlformats.org/officeDocument/2006/relationships/slideLayout" Target="../slideLayouts/slideLayout41.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54.xml"/><Relationship Id="rId12" Type="http://schemas.openxmlformats.org/officeDocument/2006/relationships/slideLayout" Target="../slideLayouts/slideLayout55.xml"/><Relationship Id="rId13" Type="http://schemas.openxmlformats.org/officeDocument/2006/relationships/slideLayout" Target="../slideLayouts/slideLayout56.xml"/><Relationship Id="rId14" Type="http://schemas.openxmlformats.org/officeDocument/2006/relationships/theme" Target="../theme/theme8.xml"/><Relationship Id="rId15" Type="http://schemas.openxmlformats.org/officeDocument/2006/relationships/image" Target="../media/image7.png"/><Relationship Id="rId1" Type="http://schemas.openxmlformats.org/officeDocument/2006/relationships/slideLayout" Target="../slideLayouts/slideLayout44.xml"/><Relationship Id="rId2" Type="http://schemas.openxmlformats.org/officeDocument/2006/relationships/slideLayout" Target="../slideLayouts/slideLayout45.xml"/><Relationship Id="rId3" Type="http://schemas.openxmlformats.org/officeDocument/2006/relationships/slideLayout" Target="../slideLayouts/slideLayout46.xml"/><Relationship Id="rId4" Type="http://schemas.openxmlformats.org/officeDocument/2006/relationships/slideLayout" Target="../slideLayouts/slideLayout47.xml"/><Relationship Id="rId5" Type="http://schemas.openxmlformats.org/officeDocument/2006/relationships/slideLayout" Target="../slideLayouts/slideLayout48.xml"/><Relationship Id="rId6" Type="http://schemas.openxmlformats.org/officeDocument/2006/relationships/slideLayout" Target="../slideLayouts/slideLayout49.xml"/><Relationship Id="rId7" Type="http://schemas.openxmlformats.org/officeDocument/2006/relationships/slideLayout" Target="../slideLayouts/slideLayout50.xml"/><Relationship Id="rId8" Type="http://schemas.openxmlformats.org/officeDocument/2006/relationships/slideLayout" Target="../slideLayouts/slideLayout51.xml"/><Relationship Id="rId9" Type="http://schemas.openxmlformats.org/officeDocument/2006/relationships/slideLayout" Target="../slideLayouts/slideLayout52.xml"/><Relationship Id="rId10" Type="http://schemas.openxmlformats.org/officeDocument/2006/relationships/slideLayout" Target="../slideLayouts/slideLayout53.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67.xml"/><Relationship Id="rId12" Type="http://schemas.openxmlformats.org/officeDocument/2006/relationships/slideLayout" Target="../slideLayouts/slideLayout68.xml"/><Relationship Id="rId13" Type="http://schemas.openxmlformats.org/officeDocument/2006/relationships/theme" Target="../theme/theme9.xml"/><Relationship Id="rId14" Type="http://schemas.openxmlformats.org/officeDocument/2006/relationships/vmlDrawing" Target="../drawings/vmlDrawing3.vml"/><Relationship Id="rId15" Type="http://schemas.openxmlformats.org/officeDocument/2006/relationships/tags" Target="../tags/tag4.xml"/><Relationship Id="rId16" Type="http://schemas.openxmlformats.org/officeDocument/2006/relationships/oleObject" Target="../embeddings/oleObject3.bin"/><Relationship Id="rId17" Type="http://schemas.openxmlformats.org/officeDocument/2006/relationships/image" Target="../media/image1.emf"/><Relationship Id="rId18" Type="http://schemas.openxmlformats.org/officeDocument/2006/relationships/image" Target="../media/image2.jpeg"/><Relationship Id="rId1" Type="http://schemas.openxmlformats.org/officeDocument/2006/relationships/slideLayout" Target="../slideLayouts/slideLayout57.xml"/><Relationship Id="rId2" Type="http://schemas.openxmlformats.org/officeDocument/2006/relationships/slideLayout" Target="../slideLayouts/slideLayout58.xml"/><Relationship Id="rId3" Type="http://schemas.openxmlformats.org/officeDocument/2006/relationships/slideLayout" Target="../slideLayouts/slideLayout59.xml"/><Relationship Id="rId4" Type="http://schemas.openxmlformats.org/officeDocument/2006/relationships/slideLayout" Target="../slideLayouts/slideLayout60.xml"/><Relationship Id="rId5" Type="http://schemas.openxmlformats.org/officeDocument/2006/relationships/slideLayout" Target="../slideLayouts/slideLayout61.xml"/><Relationship Id="rId6" Type="http://schemas.openxmlformats.org/officeDocument/2006/relationships/slideLayout" Target="../slideLayouts/slideLayout62.xml"/><Relationship Id="rId7" Type="http://schemas.openxmlformats.org/officeDocument/2006/relationships/slideLayout" Target="../slideLayouts/slideLayout63.xml"/><Relationship Id="rId8" Type="http://schemas.openxmlformats.org/officeDocument/2006/relationships/slideLayout" Target="../slideLayouts/slideLayout64.xml"/><Relationship Id="rId9" Type="http://schemas.openxmlformats.org/officeDocument/2006/relationships/slideLayout" Target="../slideLayouts/slideLayout65.xml"/><Relationship Id="rId10"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754136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238730" y="188500"/>
            <a:ext cx="685800" cy="686435"/>
          </a:xfrm>
          <a:prstGeom prst="rect">
            <a:avLst/>
          </a:prstGeom>
        </p:spPr>
      </p:pic>
      <p:sp>
        <p:nvSpPr>
          <p:cNvPr id="7" name="Title 5"/>
          <p:cNvSpPr txBox="1">
            <a:spLocks/>
          </p:cNvSpPr>
          <p:nvPr userDrawn="1"/>
        </p:nvSpPr>
        <p:spPr>
          <a:xfrm>
            <a:off x="8238730" y="901281"/>
            <a:ext cx="685800"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spTree>
    <p:extLst>
      <p:ext uri="{BB962C8B-B14F-4D97-AF65-F5344CB8AC3E}">
        <p14:creationId xmlns:p14="http://schemas.microsoft.com/office/powerpoint/2010/main" val="3046177743"/>
      </p:ext>
    </p:extLst>
  </p:cSld>
  <p:clrMap bg1="lt1" tx1="dk1" bg2="lt2" tx2="dk2" accent1="accent1" accent2="accent2" accent3="accent3" accent4="accent4" accent5="accent5" accent6="accent6" hlink="hlink" folHlink="folHlink"/>
  <p:sldLayoutIdLst>
    <p:sldLayoutId id="2147483662" r:id="rId1"/>
    <p:sldLayoutId id="2147483671" r:id="rId2"/>
    <p:sldLayoutId id="2147483681" r:id="rId3"/>
    <p:sldLayoutId id="2147483682" r:id="rId4"/>
    <p:sldLayoutId id="2147483683" r:id="rId5"/>
    <p:sldLayoutId id="2147483686" r:id="rId6"/>
    <p:sldLayoutId id="2147483687" r:id="rId7"/>
    <p:sldLayoutId id="2147483689" r:id="rId8"/>
    <p:sldLayoutId id="2147483674" r:id="rId9"/>
    <p:sldLayoutId id="2147483688" r:id="rId10"/>
    <p:sldLayoutId id="2147483690" r:id="rId11"/>
  </p:sldLayoutIdLst>
  <p:hf hdr="0" ftr="0" dt="0"/>
  <p:txStyles>
    <p:titleStyle>
      <a:lvl1pPr algn="l" defTabSz="457200"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176"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solidFill>
                  <a:prstClr val="black"/>
                </a:solidFill>
              </a:rPr>
              <a:pPr/>
              <a:t>‹#›</a:t>
            </a:fld>
            <a:endParaRPr lang="en-US">
              <a:solidFill>
                <a:prstClr val="black"/>
              </a:solidFill>
            </a:endParaRPr>
          </a:p>
        </p:txBody>
      </p:sp>
      <p:pic>
        <p:nvPicPr>
          <p:cNvPr id="6" name="Picture 5"/>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238730" y="-4539"/>
            <a:ext cx="685800" cy="686435"/>
          </a:xfrm>
          <a:prstGeom prst="rect">
            <a:avLst/>
          </a:prstGeom>
        </p:spPr>
      </p:pic>
      <p:sp>
        <p:nvSpPr>
          <p:cNvPr id="10" name="Title 5"/>
          <p:cNvSpPr txBox="1">
            <a:spLocks/>
          </p:cNvSpPr>
          <p:nvPr userDrawn="1"/>
        </p:nvSpPr>
        <p:spPr>
          <a:xfrm>
            <a:off x="8238730" y="721108"/>
            <a:ext cx="685800" cy="326642"/>
          </a:xfrm>
          <a:prstGeom prst="rect">
            <a:avLst/>
          </a:prstGeom>
          <a:ln>
            <a:solidFill>
              <a:srgbClr val="3BB0C9"/>
            </a:solidFill>
          </a:ln>
        </p:spPr>
        <p:txBody>
          <a:bodyPr vert="horz" lIns="0" rIns="0"/>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a:defRPr/>
            </a:pPr>
            <a:r>
              <a:rPr lang="en-US" sz="1000" spc="0" dirty="0">
                <a:solidFill>
                  <a:srgbClr val="3BB0C9"/>
                </a:solidFill>
                <a:latin typeface="Calibri" panose="020F0502020204030204" pitchFamily="34" charset="0"/>
              </a:rPr>
              <a:t> </a:t>
            </a:r>
            <a:r>
              <a:rPr lang="en-US" sz="700" spc="0" dirty="0">
                <a:solidFill>
                  <a:srgbClr val="3BB0C9"/>
                </a:solidFill>
                <a:latin typeface="Calibri" panose="020F0502020204030204" pitchFamily="34" charset="0"/>
              </a:rPr>
              <a:t>BRAND</a:t>
            </a:r>
          </a:p>
          <a:p>
            <a:pPr>
              <a:defRPr/>
            </a:pPr>
            <a:r>
              <a:rPr lang="en-US" sz="700" spc="0" dirty="0">
                <a:solidFill>
                  <a:srgbClr val="3BB0C9"/>
                </a:solidFill>
                <a:latin typeface="Calibri" panose="020F0502020204030204" pitchFamily="34" charset="0"/>
              </a:rPr>
              <a:t>INTELLIGENCE IL</a:t>
            </a:r>
          </a:p>
        </p:txBody>
      </p:sp>
    </p:spTree>
    <p:extLst>
      <p:ext uri="{BB962C8B-B14F-4D97-AF65-F5344CB8AC3E}">
        <p14:creationId xmlns:p14="http://schemas.microsoft.com/office/powerpoint/2010/main" val="89065068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Lst>
  <p:hf hdr="0" ftr="0" dt="0"/>
  <p:txStyles>
    <p:titleStyle>
      <a:lvl1pPr algn="l" defTabSz="457189"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892" indent="-342892" algn="l" defTabSz="457189"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76" indent="-285743" algn="l" defTabSz="457189"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02" indent="-228594" algn="l" defTabSz="457189"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65"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8238730" y="188500"/>
            <a:ext cx="685800" cy="686435"/>
          </a:xfrm>
          <a:prstGeom prst="rect">
            <a:avLst/>
          </a:prstGeom>
        </p:spPr>
      </p:pic>
      <p:sp>
        <p:nvSpPr>
          <p:cNvPr id="10" name="Title 5"/>
          <p:cNvSpPr txBox="1">
            <a:spLocks/>
          </p:cNvSpPr>
          <p:nvPr userDrawn="1"/>
        </p:nvSpPr>
        <p:spPr>
          <a:xfrm>
            <a:off x="8238730" y="914148"/>
            <a:ext cx="685800" cy="326642"/>
          </a:xfrm>
          <a:prstGeom prst="rect">
            <a:avLst/>
          </a:prstGeom>
          <a:ln>
            <a:solidFill>
              <a:srgbClr val="3BB0C9"/>
            </a:solidFill>
          </a:ln>
        </p:spPr>
        <p:txBody>
          <a:bodyPr vert="horz" lIns="0" r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2760" rtl="0" eaLnBrk="1" fontAlgn="auto" latinLnBrk="0" hangingPunct="1">
              <a:lnSpc>
                <a:spcPct val="80000"/>
              </a:lnSpc>
              <a:spcBef>
                <a:spcPct val="0"/>
              </a:spcBef>
              <a:spcAft>
                <a:spcPts val="0"/>
              </a:spcAft>
              <a:buClrTx/>
              <a:buSzTx/>
              <a:buFontTx/>
              <a:buNone/>
              <a:tabLst/>
              <a:defRPr/>
            </a:pPr>
            <a:r>
              <a:rPr kumimoji="0" lang="en-US" sz="700" b="1" i="0" u="none" strike="noStrike" kern="1200" cap="none" spc="0" normalizeH="0" baseline="0" noProof="0" dirty="0">
                <a:ln>
                  <a:noFill/>
                </a:ln>
                <a:solidFill>
                  <a:srgbClr val="3BB0C9"/>
                </a:solidFill>
                <a:effectLst/>
                <a:uLnTx/>
                <a:uFillTx/>
                <a:latin typeface="Calibri" panose="020F0502020204030204" pitchFamily="34" charset="0"/>
                <a:ea typeface="+mj-ea"/>
                <a:cs typeface="Arial"/>
              </a:rPr>
              <a:t> BRAND</a:t>
            </a:r>
          </a:p>
          <a:p>
            <a:pPr marL="0" marR="0" lvl="0" indent="0" algn="ctr" defTabSz="812760" rtl="0" eaLnBrk="1" fontAlgn="auto" latinLnBrk="0" hangingPunct="1">
              <a:lnSpc>
                <a:spcPct val="80000"/>
              </a:lnSpc>
              <a:spcBef>
                <a:spcPct val="0"/>
              </a:spcBef>
              <a:spcAft>
                <a:spcPts val="0"/>
              </a:spcAft>
              <a:buClrTx/>
              <a:buSzTx/>
              <a:buFontTx/>
              <a:buNone/>
              <a:tabLst/>
              <a:defRPr/>
            </a:pPr>
            <a:r>
              <a:rPr kumimoji="0" lang="en-US" sz="700" b="1" i="0" u="none" strike="noStrike" kern="1200" cap="none" spc="0" normalizeH="0" baseline="0" noProof="0" dirty="0">
                <a:ln>
                  <a:noFill/>
                </a:ln>
                <a:solidFill>
                  <a:srgbClr val="3BB0C9"/>
                </a:solidFill>
                <a:effectLst/>
                <a:uLnTx/>
                <a:uFillTx/>
                <a:latin typeface="Calibri" panose="020F0502020204030204" pitchFamily="34" charset="0"/>
                <a:ea typeface="+mj-ea"/>
                <a:cs typeface="Arial"/>
              </a:rPr>
              <a:t>INTELLIGENCE IL</a:t>
            </a:r>
          </a:p>
        </p:txBody>
      </p:sp>
    </p:spTree>
    <p:extLst>
      <p:ext uri="{BB962C8B-B14F-4D97-AF65-F5344CB8AC3E}">
        <p14:creationId xmlns:p14="http://schemas.microsoft.com/office/powerpoint/2010/main" val="379938209"/>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7" r:id="rId15"/>
    <p:sldLayoutId id="2147483858" r:id="rId16"/>
    <p:sldLayoutId id="2147483859" r:id="rId17"/>
  </p:sldLayoutIdLst>
  <p:hf hdr="0" ftr="0" dt="0"/>
  <p:txStyles>
    <p:titleStyle>
      <a:lvl1pPr algn="l" defTabSz="457200"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17"/>
          <p:cNvSpPr>
            <a:spLocks noGrp="1"/>
          </p:cNvSpPr>
          <p:nvPr>
            <p:ph type="sldNum" sz="quarter" idx="4"/>
          </p:nvPr>
        </p:nvSpPr>
        <p:spPr>
          <a:xfrm>
            <a:off x="8852850" y="4921782"/>
            <a:ext cx="290945" cy="220240"/>
          </a:xfrm>
          <a:prstGeom prst="rect">
            <a:avLst/>
          </a:prstGeom>
          <a:ln>
            <a:noFill/>
          </a:ln>
        </p:spPr>
        <p:txBody>
          <a:bodyPr/>
          <a:lstStyle>
            <a:lvl1pPr algn="ctr">
              <a:defRPr sz="599"/>
            </a:lvl1pPr>
          </a:lstStyle>
          <a:p>
            <a:fld id="{A34E5796-B6AC-4C80-ACD7-07B1272A6BDB}" type="slidenum">
              <a:rPr lang="en-US" smtClean="0"/>
              <a:pPr/>
              <a:t>‹#›</a:t>
            </a:fld>
            <a:endParaRPr lang="en-US"/>
          </a:p>
        </p:txBody>
      </p:sp>
      <p:sp>
        <p:nvSpPr>
          <p:cNvPr id="5" name="Title 5"/>
          <p:cNvSpPr txBox="1">
            <a:spLocks/>
          </p:cNvSpPr>
          <p:nvPr userDrawn="1"/>
        </p:nvSpPr>
        <p:spPr>
          <a:xfrm>
            <a:off x="8451686" y="569613"/>
            <a:ext cx="610101"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pic>
        <p:nvPicPr>
          <p:cNvPr id="7" name="Picture 6"/>
          <p:cNvPicPr>
            <a:picLocks noChangeAspect="1"/>
          </p:cNvPicPr>
          <p:nvPr userDrawn="1"/>
        </p:nvPicPr>
        <p:blipFill rotWithShape="1">
          <a:blip r:embed="rId13" cstate="print">
            <a:extLst>
              <a:ext uri="{28A0092B-C50C-407E-A947-70E740481C1C}">
                <a14:useLocalDpi xmlns:a14="http://schemas.microsoft.com/office/drawing/2010/main" val="0"/>
              </a:ext>
            </a:extLst>
          </a:blip>
          <a:srcRect t="9007"/>
          <a:stretch/>
        </p:blipFill>
        <p:spPr>
          <a:xfrm>
            <a:off x="8451686" y="1"/>
            <a:ext cx="610101" cy="555665"/>
          </a:xfrm>
          <a:prstGeom prst="rect">
            <a:avLst/>
          </a:prstGeom>
        </p:spPr>
      </p:pic>
    </p:spTree>
    <p:extLst>
      <p:ext uri="{BB962C8B-B14F-4D97-AF65-F5344CB8AC3E}">
        <p14:creationId xmlns:p14="http://schemas.microsoft.com/office/powerpoint/2010/main" val="2262411029"/>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hf hdr="0" ftr="0" dt="0"/>
  <p:txStyles>
    <p:titleStyle>
      <a:lvl1pPr algn="l" defTabSz="456777" rtl="0" eaLnBrk="1" latinLnBrk="0" hangingPunct="1">
        <a:lnSpc>
          <a:spcPct val="80000"/>
        </a:lnSpc>
        <a:spcBef>
          <a:spcPct val="0"/>
        </a:spcBef>
        <a:buNone/>
        <a:defRPr sz="3197" b="1" kern="1200" spc="-50" baseline="0">
          <a:solidFill>
            <a:schemeClr val="tx1"/>
          </a:solidFill>
          <a:effectLst/>
          <a:latin typeface="+mj-lt"/>
          <a:ea typeface="+mj-ea"/>
          <a:cs typeface="+mj-cs"/>
        </a:defRPr>
      </a:lvl1pPr>
    </p:titleStyle>
    <p:bodyStyle>
      <a:lvl1pPr marL="342583" indent="-342583" algn="l" defTabSz="456777" rtl="0" eaLnBrk="1" latinLnBrk="0" hangingPunct="1">
        <a:spcBef>
          <a:spcPts val="400"/>
        </a:spcBef>
        <a:spcAft>
          <a:spcPts val="599"/>
        </a:spcAft>
        <a:buClr>
          <a:schemeClr val="accent3"/>
        </a:buClr>
        <a:buFont typeface="Arial" panose="020B0604020202020204" pitchFamily="34" charset="0"/>
        <a:buChar char="•"/>
        <a:defRPr sz="2398" kern="1200" spc="-30" baseline="0">
          <a:solidFill>
            <a:schemeClr val="tx1"/>
          </a:solidFill>
          <a:effectLst/>
          <a:latin typeface="+mn-lt"/>
          <a:ea typeface="+mn-ea"/>
          <a:cs typeface="+mn-cs"/>
        </a:defRPr>
      </a:lvl1pPr>
      <a:lvl2pPr marL="621217" indent="-285486" algn="l" defTabSz="456777" rtl="0" eaLnBrk="1" latinLnBrk="0" hangingPunct="1">
        <a:spcBef>
          <a:spcPts val="0"/>
        </a:spcBef>
        <a:spcAft>
          <a:spcPts val="300"/>
        </a:spcAft>
        <a:buClr>
          <a:schemeClr val="accent3"/>
        </a:buClr>
        <a:buFont typeface="Arial" panose="020B0604020202020204" pitchFamily="34" charset="0"/>
        <a:buChar char="•"/>
        <a:defRPr sz="1998" kern="1200" spc="-30" baseline="0">
          <a:solidFill>
            <a:schemeClr val="tx1"/>
          </a:solidFill>
          <a:effectLst/>
          <a:latin typeface="+mn-lt"/>
          <a:ea typeface="+mn-ea"/>
          <a:cs typeface="+mn-cs"/>
        </a:defRPr>
      </a:lvl2pPr>
      <a:lvl3pPr marL="730844" indent="-228389" algn="l" defTabSz="456777" rtl="0" eaLnBrk="1" latinLnBrk="0" hangingPunct="1">
        <a:spcBef>
          <a:spcPts val="0"/>
        </a:spcBef>
        <a:spcAft>
          <a:spcPts val="300"/>
        </a:spcAft>
        <a:buClr>
          <a:schemeClr val="accent3"/>
        </a:buClr>
        <a:buFont typeface="Arial" panose="020B0604020202020204" pitchFamily="34" charset="0"/>
        <a:buChar char="•"/>
        <a:defRPr sz="1598" kern="1200" spc="-30" baseline="0">
          <a:solidFill>
            <a:schemeClr val="tx1"/>
          </a:solidFill>
          <a:effectLst/>
          <a:latin typeface="+mn-lt"/>
          <a:ea typeface="+mn-ea"/>
          <a:cs typeface="+mn-cs"/>
        </a:defRPr>
      </a:lvl3pPr>
      <a:lvl4pPr marL="913554" indent="-228389" algn="l" defTabSz="456777" rtl="0" eaLnBrk="1" latinLnBrk="0" hangingPunct="1">
        <a:spcBef>
          <a:spcPts val="0"/>
        </a:spcBef>
        <a:spcAft>
          <a:spcPts val="300"/>
        </a:spcAft>
        <a:buClr>
          <a:schemeClr val="accent3"/>
        </a:buClr>
        <a:buFont typeface="Arial" panose="020B0604020202020204" pitchFamily="34" charset="0"/>
        <a:buChar char="•"/>
        <a:defRPr sz="1399" kern="1200" spc="-30" baseline="0">
          <a:solidFill>
            <a:schemeClr val="tx1"/>
          </a:solidFill>
          <a:effectLst/>
          <a:latin typeface="+mn-lt"/>
          <a:ea typeface="+mn-ea"/>
          <a:cs typeface="+mn-cs"/>
        </a:defRPr>
      </a:lvl4pPr>
      <a:lvl5pPr marL="913554" indent="-228389" algn="l" defTabSz="456777" rtl="0" eaLnBrk="1" latinLnBrk="0" hangingPunct="1">
        <a:spcBef>
          <a:spcPts val="0"/>
        </a:spcBef>
        <a:spcAft>
          <a:spcPts val="300"/>
        </a:spcAft>
        <a:buClr>
          <a:schemeClr val="accent3"/>
        </a:buClr>
        <a:buFont typeface="Arial" panose="020B0604020202020204" pitchFamily="34" charset="0"/>
        <a:buChar char="•"/>
        <a:defRPr sz="1199" kern="1200" spc="-30" baseline="0">
          <a:solidFill>
            <a:schemeClr val="tx1"/>
          </a:solidFill>
          <a:effectLst/>
          <a:latin typeface="+mn-lt"/>
          <a:ea typeface="+mn-ea"/>
          <a:cs typeface="+mn-cs"/>
        </a:defRPr>
      </a:lvl5pPr>
      <a:lvl6pPr marL="2512274" indent="-228389" algn="l" defTabSz="456777" rtl="0" eaLnBrk="1" latinLnBrk="0" hangingPunct="1">
        <a:spcBef>
          <a:spcPct val="20000"/>
        </a:spcBef>
        <a:buFont typeface="Arial"/>
        <a:buChar char="•"/>
        <a:defRPr sz="1998" kern="1200">
          <a:solidFill>
            <a:schemeClr val="tx1"/>
          </a:solidFill>
          <a:latin typeface="+mn-lt"/>
          <a:ea typeface="+mn-ea"/>
          <a:cs typeface="+mn-cs"/>
        </a:defRPr>
      </a:lvl6pPr>
      <a:lvl7pPr marL="2969051" indent="-228389" algn="l" defTabSz="456777" rtl="0" eaLnBrk="1" latinLnBrk="0" hangingPunct="1">
        <a:spcBef>
          <a:spcPct val="20000"/>
        </a:spcBef>
        <a:buFont typeface="Arial"/>
        <a:buChar char="•"/>
        <a:defRPr sz="1998" kern="1200">
          <a:solidFill>
            <a:schemeClr val="tx1"/>
          </a:solidFill>
          <a:latin typeface="+mn-lt"/>
          <a:ea typeface="+mn-ea"/>
          <a:cs typeface="+mn-cs"/>
        </a:defRPr>
      </a:lvl7pPr>
      <a:lvl8pPr marL="3425828" indent="-228389" algn="l" defTabSz="456777" rtl="0" eaLnBrk="1" latinLnBrk="0" hangingPunct="1">
        <a:spcBef>
          <a:spcPct val="20000"/>
        </a:spcBef>
        <a:buFont typeface="Arial"/>
        <a:buChar char="•"/>
        <a:defRPr sz="1998" kern="1200">
          <a:solidFill>
            <a:schemeClr val="tx1"/>
          </a:solidFill>
          <a:latin typeface="+mn-lt"/>
          <a:ea typeface="+mn-ea"/>
          <a:cs typeface="+mn-cs"/>
        </a:defRPr>
      </a:lvl8pPr>
      <a:lvl9pPr marL="3882605" indent="-228389" algn="l" defTabSz="456777"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77" rtl="0" eaLnBrk="1" latinLnBrk="0" hangingPunct="1">
        <a:defRPr sz="1799" kern="1200">
          <a:solidFill>
            <a:schemeClr val="tx1"/>
          </a:solidFill>
          <a:latin typeface="+mn-lt"/>
          <a:ea typeface="+mn-ea"/>
          <a:cs typeface="+mn-cs"/>
        </a:defRPr>
      </a:lvl1pPr>
      <a:lvl2pPr marL="456777" algn="l" defTabSz="456777" rtl="0" eaLnBrk="1" latinLnBrk="0" hangingPunct="1">
        <a:defRPr sz="1799" kern="1200">
          <a:solidFill>
            <a:schemeClr val="tx1"/>
          </a:solidFill>
          <a:latin typeface="+mn-lt"/>
          <a:ea typeface="+mn-ea"/>
          <a:cs typeface="+mn-cs"/>
        </a:defRPr>
      </a:lvl2pPr>
      <a:lvl3pPr marL="913554" algn="l" defTabSz="456777" rtl="0" eaLnBrk="1" latinLnBrk="0" hangingPunct="1">
        <a:defRPr sz="1799" kern="1200">
          <a:solidFill>
            <a:schemeClr val="tx1"/>
          </a:solidFill>
          <a:latin typeface="+mn-lt"/>
          <a:ea typeface="+mn-ea"/>
          <a:cs typeface="+mn-cs"/>
        </a:defRPr>
      </a:lvl3pPr>
      <a:lvl4pPr marL="1370331" algn="l" defTabSz="456777" rtl="0" eaLnBrk="1" latinLnBrk="0" hangingPunct="1">
        <a:defRPr sz="1799" kern="1200">
          <a:solidFill>
            <a:schemeClr val="tx1"/>
          </a:solidFill>
          <a:latin typeface="+mn-lt"/>
          <a:ea typeface="+mn-ea"/>
          <a:cs typeface="+mn-cs"/>
        </a:defRPr>
      </a:lvl4pPr>
      <a:lvl5pPr marL="1827108" algn="l" defTabSz="456777" rtl="0" eaLnBrk="1" latinLnBrk="0" hangingPunct="1">
        <a:defRPr sz="1799" kern="1200">
          <a:solidFill>
            <a:schemeClr val="tx1"/>
          </a:solidFill>
          <a:latin typeface="+mn-lt"/>
          <a:ea typeface="+mn-ea"/>
          <a:cs typeface="+mn-cs"/>
        </a:defRPr>
      </a:lvl5pPr>
      <a:lvl6pPr marL="2283886" algn="l" defTabSz="456777" rtl="0" eaLnBrk="1" latinLnBrk="0" hangingPunct="1">
        <a:defRPr sz="1799" kern="1200">
          <a:solidFill>
            <a:schemeClr val="tx1"/>
          </a:solidFill>
          <a:latin typeface="+mn-lt"/>
          <a:ea typeface="+mn-ea"/>
          <a:cs typeface="+mn-cs"/>
        </a:defRPr>
      </a:lvl6pPr>
      <a:lvl7pPr marL="2740663" algn="l" defTabSz="456777" rtl="0" eaLnBrk="1" latinLnBrk="0" hangingPunct="1">
        <a:defRPr sz="1799" kern="1200">
          <a:solidFill>
            <a:schemeClr val="tx1"/>
          </a:solidFill>
          <a:latin typeface="+mn-lt"/>
          <a:ea typeface="+mn-ea"/>
          <a:cs typeface="+mn-cs"/>
        </a:defRPr>
      </a:lvl7pPr>
      <a:lvl8pPr marL="3197440" algn="l" defTabSz="456777" rtl="0" eaLnBrk="1" latinLnBrk="0" hangingPunct="1">
        <a:defRPr sz="1799" kern="1200">
          <a:solidFill>
            <a:schemeClr val="tx1"/>
          </a:solidFill>
          <a:latin typeface="+mn-lt"/>
          <a:ea typeface="+mn-ea"/>
          <a:cs typeface="+mn-cs"/>
        </a:defRPr>
      </a:lvl8pPr>
      <a:lvl9pPr marL="3654217" algn="l" defTabSz="456777" rtl="0" eaLnBrk="1" latinLnBrk="0" hangingPunct="1">
        <a:defRPr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38730" y="188326"/>
            <a:ext cx="685800" cy="685800"/>
          </a:xfrm>
          <a:prstGeom prst="rect">
            <a:avLst/>
          </a:prstGeom>
        </p:spPr>
      </p:pic>
      <p:sp>
        <p:nvSpPr>
          <p:cNvPr id="26" name="Slide Number Placeholder 23"/>
          <p:cNvSpPr>
            <a:spLocks noGrp="1"/>
          </p:cNvSpPr>
          <p:nvPr>
            <p:ph type="sldNum" sz="quarter" idx="4"/>
          </p:nvPr>
        </p:nvSpPr>
        <p:spPr>
          <a:xfrm>
            <a:off x="891941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spTree>
    <p:extLst>
      <p:ext uri="{BB962C8B-B14F-4D97-AF65-F5344CB8AC3E}">
        <p14:creationId xmlns:p14="http://schemas.microsoft.com/office/powerpoint/2010/main" val="4289098401"/>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Lst>
  <p:hf hdr="0" dt="0"/>
  <p:txStyles>
    <p:titleStyle>
      <a:lvl1pPr algn="l" defTabSz="685183" rtl="0" eaLnBrk="1" latinLnBrk="0" hangingPunct="1">
        <a:lnSpc>
          <a:spcPct val="90000"/>
        </a:lnSpc>
        <a:spcBef>
          <a:spcPct val="0"/>
        </a:spcBef>
        <a:buNone/>
        <a:defRPr sz="3297" kern="1200">
          <a:solidFill>
            <a:schemeClr val="tx1"/>
          </a:solidFill>
          <a:latin typeface="+mj-lt"/>
          <a:ea typeface="+mj-ea"/>
          <a:cs typeface="+mj-cs"/>
        </a:defRPr>
      </a:lvl1pPr>
    </p:titleStyle>
    <p:bodyStyle>
      <a:lvl1pPr marL="171296" indent="-171296" algn="l" defTabSz="685183" rtl="0" eaLnBrk="1" latinLnBrk="0" hangingPunct="1">
        <a:lnSpc>
          <a:spcPct val="90000"/>
        </a:lnSpc>
        <a:spcBef>
          <a:spcPts val="749"/>
        </a:spcBef>
        <a:buFont typeface="Arial"/>
        <a:buChar char="•"/>
        <a:defRPr sz="2098" kern="1200">
          <a:solidFill>
            <a:schemeClr val="tx1"/>
          </a:solidFill>
          <a:latin typeface="+mn-lt"/>
          <a:ea typeface="+mn-ea"/>
          <a:cs typeface="+mn-cs"/>
        </a:defRPr>
      </a:lvl1pPr>
      <a:lvl2pPr marL="513887" indent="-171296" algn="l" defTabSz="685183" rtl="0" eaLnBrk="1" latinLnBrk="0" hangingPunct="1">
        <a:lnSpc>
          <a:spcPct val="90000"/>
        </a:lnSpc>
        <a:spcBef>
          <a:spcPts val="375"/>
        </a:spcBef>
        <a:buFont typeface="Arial"/>
        <a:buChar char="•"/>
        <a:defRPr sz="1798" kern="1200">
          <a:solidFill>
            <a:schemeClr val="tx1"/>
          </a:solidFill>
          <a:latin typeface="+mn-lt"/>
          <a:ea typeface="+mn-ea"/>
          <a:cs typeface="+mn-cs"/>
        </a:defRPr>
      </a:lvl2pPr>
      <a:lvl3pPr marL="856478" indent="-171296" algn="l" defTabSz="685183" rtl="0" eaLnBrk="1" latinLnBrk="0" hangingPunct="1">
        <a:lnSpc>
          <a:spcPct val="90000"/>
        </a:lnSpc>
        <a:spcBef>
          <a:spcPts val="375"/>
        </a:spcBef>
        <a:buFont typeface="Arial"/>
        <a:buChar char="•"/>
        <a:defRPr sz="1499" kern="1200">
          <a:solidFill>
            <a:schemeClr val="tx1"/>
          </a:solidFill>
          <a:latin typeface="+mn-lt"/>
          <a:ea typeface="+mn-ea"/>
          <a:cs typeface="+mn-cs"/>
        </a:defRPr>
      </a:lvl3pPr>
      <a:lvl4pPr marL="1199070"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4pPr>
      <a:lvl5pPr marL="1541661"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9pPr>
    </p:bodyStyle>
    <p:otherStyle>
      <a:defPPr>
        <a:defRPr lang="en-US"/>
      </a:defPPr>
      <a:lvl1pPr marL="0" algn="l" defTabSz="685183" rtl="0" eaLnBrk="1" latinLnBrk="0" hangingPunct="1">
        <a:defRPr sz="1349" kern="1200">
          <a:solidFill>
            <a:schemeClr val="tx1"/>
          </a:solidFill>
          <a:latin typeface="+mn-lt"/>
          <a:ea typeface="+mn-ea"/>
          <a:cs typeface="+mn-cs"/>
        </a:defRPr>
      </a:lvl1pPr>
      <a:lvl2pPr marL="342591" algn="l" defTabSz="685183" rtl="0" eaLnBrk="1" latinLnBrk="0" hangingPunct="1">
        <a:defRPr sz="1349" kern="1200">
          <a:solidFill>
            <a:schemeClr val="tx1"/>
          </a:solidFill>
          <a:latin typeface="+mn-lt"/>
          <a:ea typeface="+mn-ea"/>
          <a:cs typeface="+mn-cs"/>
        </a:defRPr>
      </a:lvl2pPr>
      <a:lvl3pPr marL="685183" algn="l" defTabSz="685183" rtl="0" eaLnBrk="1" latinLnBrk="0" hangingPunct="1">
        <a:defRPr sz="1349" kern="1200">
          <a:solidFill>
            <a:schemeClr val="tx1"/>
          </a:solidFill>
          <a:latin typeface="+mn-lt"/>
          <a:ea typeface="+mn-ea"/>
          <a:cs typeface="+mn-cs"/>
        </a:defRPr>
      </a:lvl3pPr>
      <a:lvl4pPr marL="1027774" algn="l" defTabSz="685183" rtl="0" eaLnBrk="1" latinLnBrk="0" hangingPunct="1">
        <a:defRPr sz="1349" kern="1200">
          <a:solidFill>
            <a:schemeClr val="tx1"/>
          </a:solidFill>
          <a:latin typeface="+mn-lt"/>
          <a:ea typeface="+mn-ea"/>
          <a:cs typeface="+mn-cs"/>
        </a:defRPr>
      </a:lvl4pPr>
      <a:lvl5pPr marL="1370366" algn="l" defTabSz="685183" rtl="0" eaLnBrk="1" latinLnBrk="0" hangingPunct="1">
        <a:defRPr sz="1349" kern="1200">
          <a:solidFill>
            <a:schemeClr val="tx1"/>
          </a:solidFill>
          <a:latin typeface="+mn-lt"/>
          <a:ea typeface="+mn-ea"/>
          <a:cs typeface="+mn-cs"/>
        </a:defRPr>
      </a:lvl5pPr>
      <a:lvl6pPr marL="1712957" algn="l" defTabSz="685183" rtl="0" eaLnBrk="1" latinLnBrk="0" hangingPunct="1">
        <a:defRPr sz="1349" kern="1200">
          <a:solidFill>
            <a:schemeClr val="tx1"/>
          </a:solidFill>
          <a:latin typeface="+mn-lt"/>
          <a:ea typeface="+mn-ea"/>
          <a:cs typeface="+mn-cs"/>
        </a:defRPr>
      </a:lvl6pPr>
      <a:lvl7pPr marL="2055548" algn="l" defTabSz="685183" rtl="0" eaLnBrk="1" latinLnBrk="0" hangingPunct="1">
        <a:defRPr sz="1349" kern="1200">
          <a:solidFill>
            <a:schemeClr val="tx1"/>
          </a:solidFill>
          <a:latin typeface="+mn-lt"/>
          <a:ea typeface="+mn-ea"/>
          <a:cs typeface="+mn-cs"/>
        </a:defRPr>
      </a:lvl7pPr>
      <a:lvl8pPr marL="2398140" algn="l" defTabSz="685183" rtl="0" eaLnBrk="1" latinLnBrk="0" hangingPunct="1">
        <a:defRPr sz="1349" kern="1200">
          <a:solidFill>
            <a:schemeClr val="tx1"/>
          </a:solidFill>
          <a:latin typeface="+mn-lt"/>
          <a:ea typeface="+mn-ea"/>
          <a:cs typeface="+mn-cs"/>
        </a:defRPr>
      </a:lvl8pPr>
      <a:lvl9pPr marL="2740731" algn="l" defTabSz="685183" rtl="0" eaLnBrk="1" latinLnBrk="0" hangingPunct="1">
        <a:defRPr sz="1349"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621">
          <p15:clr>
            <a:srgbClr val="F26B43"/>
          </p15:clr>
        </p15:guide>
        <p15:guide id="2" pos="2880">
          <p15:clr>
            <a:srgbClr val="F26B43"/>
          </p15:clr>
        </p15:guide>
        <p15:guide id="3" pos="199">
          <p15:clr>
            <a:srgbClr val="F26B43"/>
          </p15:clr>
        </p15:guide>
        <p15:guide id="4" orient="horz" pos="315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38730" y="188326"/>
            <a:ext cx="685800" cy="685800"/>
          </a:xfrm>
          <a:prstGeom prst="rect">
            <a:avLst/>
          </a:prstGeom>
        </p:spPr>
      </p:pic>
      <p:sp>
        <p:nvSpPr>
          <p:cNvPr id="26" name="Slide Number Placeholder 23"/>
          <p:cNvSpPr>
            <a:spLocks noGrp="1"/>
          </p:cNvSpPr>
          <p:nvPr>
            <p:ph type="sldNum" sz="quarter" idx="4"/>
          </p:nvPr>
        </p:nvSpPr>
        <p:spPr>
          <a:xfrm>
            <a:off x="891941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spTree>
    <p:extLst>
      <p:ext uri="{BB962C8B-B14F-4D97-AF65-F5344CB8AC3E}">
        <p14:creationId xmlns:p14="http://schemas.microsoft.com/office/powerpoint/2010/main" val="2941330831"/>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hdr="0" dt="0"/>
  <p:txStyles>
    <p:titleStyle>
      <a:lvl1pPr algn="l" defTabSz="685183" rtl="0" eaLnBrk="1" latinLnBrk="0" hangingPunct="1">
        <a:lnSpc>
          <a:spcPct val="90000"/>
        </a:lnSpc>
        <a:spcBef>
          <a:spcPct val="0"/>
        </a:spcBef>
        <a:buNone/>
        <a:defRPr sz="3297" kern="1200">
          <a:solidFill>
            <a:schemeClr val="tx1"/>
          </a:solidFill>
          <a:latin typeface="+mj-lt"/>
          <a:ea typeface="+mj-ea"/>
          <a:cs typeface="+mj-cs"/>
        </a:defRPr>
      </a:lvl1pPr>
    </p:titleStyle>
    <p:bodyStyle>
      <a:lvl1pPr marL="171296" indent="-171296" algn="l" defTabSz="685183" rtl="0" eaLnBrk="1" latinLnBrk="0" hangingPunct="1">
        <a:lnSpc>
          <a:spcPct val="90000"/>
        </a:lnSpc>
        <a:spcBef>
          <a:spcPts val="749"/>
        </a:spcBef>
        <a:buFont typeface="Arial"/>
        <a:buChar char="•"/>
        <a:defRPr sz="2098" kern="1200">
          <a:solidFill>
            <a:schemeClr val="tx1"/>
          </a:solidFill>
          <a:latin typeface="+mn-lt"/>
          <a:ea typeface="+mn-ea"/>
          <a:cs typeface="+mn-cs"/>
        </a:defRPr>
      </a:lvl1pPr>
      <a:lvl2pPr marL="513887" indent="-171296" algn="l" defTabSz="685183" rtl="0" eaLnBrk="1" latinLnBrk="0" hangingPunct="1">
        <a:lnSpc>
          <a:spcPct val="90000"/>
        </a:lnSpc>
        <a:spcBef>
          <a:spcPts val="375"/>
        </a:spcBef>
        <a:buFont typeface="Arial"/>
        <a:buChar char="•"/>
        <a:defRPr sz="1798" kern="1200">
          <a:solidFill>
            <a:schemeClr val="tx1"/>
          </a:solidFill>
          <a:latin typeface="+mn-lt"/>
          <a:ea typeface="+mn-ea"/>
          <a:cs typeface="+mn-cs"/>
        </a:defRPr>
      </a:lvl2pPr>
      <a:lvl3pPr marL="856478" indent="-171296" algn="l" defTabSz="685183" rtl="0" eaLnBrk="1" latinLnBrk="0" hangingPunct="1">
        <a:lnSpc>
          <a:spcPct val="90000"/>
        </a:lnSpc>
        <a:spcBef>
          <a:spcPts val="375"/>
        </a:spcBef>
        <a:buFont typeface="Arial"/>
        <a:buChar char="•"/>
        <a:defRPr sz="1499" kern="1200">
          <a:solidFill>
            <a:schemeClr val="tx1"/>
          </a:solidFill>
          <a:latin typeface="+mn-lt"/>
          <a:ea typeface="+mn-ea"/>
          <a:cs typeface="+mn-cs"/>
        </a:defRPr>
      </a:lvl3pPr>
      <a:lvl4pPr marL="1199070"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4pPr>
      <a:lvl5pPr marL="1541661"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9pPr>
    </p:bodyStyle>
    <p:otherStyle>
      <a:defPPr>
        <a:defRPr lang="en-US"/>
      </a:defPPr>
      <a:lvl1pPr marL="0" algn="l" defTabSz="685183" rtl="0" eaLnBrk="1" latinLnBrk="0" hangingPunct="1">
        <a:defRPr sz="1349" kern="1200">
          <a:solidFill>
            <a:schemeClr val="tx1"/>
          </a:solidFill>
          <a:latin typeface="+mn-lt"/>
          <a:ea typeface="+mn-ea"/>
          <a:cs typeface="+mn-cs"/>
        </a:defRPr>
      </a:lvl1pPr>
      <a:lvl2pPr marL="342591" algn="l" defTabSz="685183" rtl="0" eaLnBrk="1" latinLnBrk="0" hangingPunct="1">
        <a:defRPr sz="1349" kern="1200">
          <a:solidFill>
            <a:schemeClr val="tx1"/>
          </a:solidFill>
          <a:latin typeface="+mn-lt"/>
          <a:ea typeface="+mn-ea"/>
          <a:cs typeface="+mn-cs"/>
        </a:defRPr>
      </a:lvl2pPr>
      <a:lvl3pPr marL="685183" algn="l" defTabSz="685183" rtl="0" eaLnBrk="1" latinLnBrk="0" hangingPunct="1">
        <a:defRPr sz="1349" kern="1200">
          <a:solidFill>
            <a:schemeClr val="tx1"/>
          </a:solidFill>
          <a:latin typeface="+mn-lt"/>
          <a:ea typeface="+mn-ea"/>
          <a:cs typeface="+mn-cs"/>
        </a:defRPr>
      </a:lvl3pPr>
      <a:lvl4pPr marL="1027774" algn="l" defTabSz="685183" rtl="0" eaLnBrk="1" latinLnBrk="0" hangingPunct="1">
        <a:defRPr sz="1349" kern="1200">
          <a:solidFill>
            <a:schemeClr val="tx1"/>
          </a:solidFill>
          <a:latin typeface="+mn-lt"/>
          <a:ea typeface="+mn-ea"/>
          <a:cs typeface="+mn-cs"/>
        </a:defRPr>
      </a:lvl4pPr>
      <a:lvl5pPr marL="1370366" algn="l" defTabSz="685183" rtl="0" eaLnBrk="1" latinLnBrk="0" hangingPunct="1">
        <a:defRPr sz="1349" kern="1200">
          <a:solidFill>
            <a:schemeClr val="tx1"/>
          </a:solidFill>
          <a:latin typeface="+mn-lt"/>
          <a:ea typeface="+mn-ea"/>
          <a:cs typeface="+mn-cs"/>
        </a:defRPr>
      </a:lvl5pPr>
      <a:lvl6pPr marL="1712957" algn="l" defTabSz="685183" rtl="0" eaLnBrk="1" latinLnBrk="0" hangingPunct="1">
        <a:defRPr sz="1349" kern="1200">
          <a:solidFill>
            <a:schemeClr val="tx1"/>
          </a:solidFill>
          <a:latin typeface="+mn-lt"/>
          <a:ea typeface="+mn-ea"/>
          <a:cs typeface="+mn-cs"/>
        </a:defRPr>
      </a:lvl6pPr>
      <a:lvl7pPr marL="2055548" algn="l" defTabSz="685183" rtl="0" eaLnBrk="1" latinLnBrk="0" hangingPunct="1">
        <a:defRPr sz="1349" kern="1200">
          <a:solidFill>
            <a:schemeClr val="tx1"/>
          </a:solidFill>
          <a:latin typeface="+mn-lt"/>
          <a:ea typeface="+mn-ea"/>
          <a:cs typeface="+mn-cs"/>
        </a:defRPr>
      </a:lvl7pPr>
      <a:lvl8pPr marL="2398140" algn="l" defTabSz="685183" rtl="0" eaLnBrk="1" latinLnBrk="0" hangingPunct="1">
        <a:defRPr sz="1349" kern="1200">
          <a:solidFill>
            <a:schemeClr val="tx1"/>
          </a:solidFill>
          <a:latin typeface="+mn-lt"/>
          <a:ea typeface="+mn-ea"/>
          <a:cs typeface="+mn-cs"/>
        </a:defRPr>
      </a:lvl8pPr>
      <a:lvl9pPr marL="2740731" algn="l" defTabSz="685183" rtl="0" eaLnBrk="1" latinLnBrk="0" hangingPunct="1">
        <a:defRPr sz="1349"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621">
          <p15:clr>
            <a:srgbClr val="F26B43"/>
          </p15:clr>
        </p15:guide>
        <p15:guide id="2" pos="2880">
          <p15:clr>
            <a:srgbClr val="F26B43"/>
          </p15:clr>
        </p15:guide>
        <p15:guide id="3" pos="199">
          <p15:clr>
            <a:srgbClr val="F26B43"/>
          </p15:clr>
        </p15:guide>
        <p15:guide id="4" orient="horz" pos="315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17"/>
          <p:cNvSpPr txBox="1">
            <a:spLocks/>
          </p:cNvSpPr>
          <p:nvPr/>
        </p:nvSpPr>
        <p:spPr>
          <a:xfrm>
            <a:off x="8741028" y="4958465"/>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z="600" smtClean="0">
                <a:solidFill>
                  <a:schemeClr val="tx1">
                    <a:lumMod val="95000"/>
                    <a:lumOff val="5000"/>
                  </a:schemeClr>
                </a:solidFill>
              </a:rPr>
              <a:pPr algn="r"/>
              <a:t>‹#›</a:t>
            </a:fld>
            <a:endParaRPr lang="en-US" sz="600" dirty="0">
              <a:solidFill>
                <a:schemeClr val="tx1">
                  <a:lumMod val="95000"/>
                  <a:lumOff val="5000"/>
                </a:schemeClr>
              </a:solidFill>
            </a:endParaRPr>
          </a:p>
        </p:txBody>
      </p:sp>
    </p:spTree>
    <p:extLst>
      <p:ext uri="{BB962C8B-B14F-4D97-AF65-F5344CB8AC3E}">
        <p14:creationId xmlns:p14="http://schemas.microsoft.com/office/powerpoint/2010/main" val="302876946"/>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900" r:id="rId5"/>
  </p:sldLayoutIdLst>
  <p:txStyles>
    <p:titleStyle>
      <a:lvl1pPr algn="l" defTabSz="457189" rtl="0" eaLnBrk="1" latinLnBrk="0" hangingPunct="1">
        <a:lnSpc>
          <a:spcPct val="90000"/>
        </a:lnSpc>
        <a:spcBef>
          <a:spcPct val="0"/>
        </a:spcBef>
        <a:buNone/>
        <a:defRPr sz="2000" b="1" kern="1200" spc="-150" baseline="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17"/>
          <p:cNvSpPr>
            <a:spLocks noGrp="1"/>
          </p:cNvSpPr>
          <p:nvPr>
            <p:ph type="sldNum" sz="quarter" idx="4"/>
          </p:nvPr>
        </p:nvSpPr>
        <p:spPr>
          <a:xfrm>
            <a:off x="8852851" y="4921782"/>
            <a:ext cx="290945" cy="220240"/>
          </a:xfrm>
          <a:prstGeom prst="rect">
            <a:avLst/>
          </a:prstGeom>
          <a:ln>
            <a:noFill/>
          </a:ln>
        </p:spPr>
        <p:txBody>
          <a:bodyPr/>
          <a:lstStyle>
            <a:lvl1pPr algn="ctr">
              <a:defRPr sz="599"/>
            </a:lvl1pPr>
          </a:lstStyle>
          <a:p>
            <a:fld id="{A34E5796-B6AC-4C80-ACD7-07B1272A6BDB}" type="slidenum">
              <a:rPr lang="en-US" smtClean="0"/>
              <a:pPr/>
              <a:t>‹#›</a:t>
            </a:fld>
            <a:endParaRPr lang="en-US"/>
          </a:p>
        </p:txBody>
      </p:sp>
      <p:sp>
        <p:nvSpPr>
          <p:cNvPr id="5" name="Title 5"/>
          <p:cNvSpPr txBox="1">
            <a:spLocks/>
          </p:cNvSpPr>
          <p:nvPr userDrawn="1"/>
        </p:nvSpPr>
        <p:spPr>
          <a:xfrm>
            <a:off x="8451686" y="569614"/>
            <a:ext cx="610101"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pic>
        <p:nvPicPr>
          <p:cNvPr id="7" name="Picture 6"/>
          <p:cNvPicPr>
            <a:picLocks noChangeAspect="1"/>
          </p:cNvPicPr>
          <p:nvPr userDrawn="1"/>
        </p:nvPicPr>
        <p:blipFill rotWithShape="1">
          <a:blip r:embed="rId13" cstate="print">
            <a:extLst>
              <a:ext uri="{28A0092B-C50C-407E-A947-70E740481C1C}">
                <a14:useLocalDpi xmlns:a14="http://schemas.microsoft.com/office/drawing/2010/main" val="0"/>
              </a:ext>
            </a:extLst>
          </a:blip>
          <a:srcRect t="9007"/>
          <a:stretch/>
        </p:blipFill>
        <p:spPr>
          <a:xfrm>
            <a:off x="8451686" y="2"/>
            <a:ext cx="610101" cy="555665"/>
          </a:xfrm>
          <a:prstGeom prst="rect">
            <a:avLst/>
          </a:prstGeom>
        </p:spPr>
      </p:pic>
    </p:spTree>
    <p:extLst>
      <p:ext uri="{BB962C8B-B14F-4D97-AF65-F5344CB8AC3E}">
        <p14:creationId xmlns:p14="http://schemas.microsoft.com/office/powerpoint/2010/main" val="2920338963"/>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hf hdr="0" ftr="0" dt="0"/>
  <p:txStyles>
    <p:titleStyle>
      <a:lvl1pPr algn="l" defTabSz="456766" rtl="0" eaLnBrk="1" latinLnBrk="0" hangingPunct="1">
        <a:lnSpc>
          <a:spcPct val="80000"/>
        </a:lnSpc>
        <a:spcBef>
          <a:spcPct val="0"/>
        </a:spcBef>
        <a:buNone/>
        <a:defRPr sz="3197" b="1" kern="1200" spc="-50" baseline="0">
          <a:solidFill>
            <a:schemeClr val="tx1"/>
          </a:solidFill>
          <a:effectLst/>
          <a:latin typeface="+mj-lt"/>
          <a:ea typeface="+mj-ea"/>
          <a:cs typeface="+mj-cs"/>
        </a:defRPr>
      </a:lvl1pPr>
    </p:titleStyle>
    <p:bodyStyle>
      <a:lvl1pPr marL="342575" indent="-342575" algn="l" defTabSz="456766" rtl="0" eaLnBrk="1" latinLnBrk="0" hangingPunct="1">
        <a:spcBef>
          <a:spcPts val="400"/>
        </a:spcBef>
        <a:spcAft>
          <a:spcPts val="599"/>
        </a:spcAft>
        <a:buClr>
          <a:schemeClr val="accent3"/>
        </a:buClr>
        <a:buFont typeface="Arial" panose="020B0604020202020204" pitchFamily="34" charset="0"/>
        <a:buChar char="•"/>
        <a:defRPr sz="2398" kern="1200" spc="-30" baseline="0">
          <a:solidFill>
            <a:schemeClr val="tx1"/>
          </a:solidFill>
          <a:effectLst/>
          <a:latin typeface="+mn-lt"/>
          <a:ea typeface="+mn-ea"/>
          <a:cs typeface="+mn-cs"/>
        </a:defRPr>
      </a:lvl1pPr>
      <a:lvl2pPr marL="621202" indent="-285479" algn="l" defTabSz="456766" rtl="0" eaLnBrk="1" latinLnBrk="0" hangingPunct="1">
        <a:spcBef>
          <a:spcPts val="0"/>
        </a:spcBef>
        <a:spcAft>
          <a:spcPts val="300"/>
        </a:spcAft>
        <a:buClr>
          <a:schemeClr val="accent3"/>
        </a:buClr>
        <a:buFont typeface="Arial" panose="020B0604020202020204" pitchFamily="34" charset="0"/>
        <a:buChar char="•"/>
        <a:defRPr sz="1998" kern="1200" spc="-30" baseline="0">
          <a:solidFill>
            <a:schemeClr val="tx1"/>
          </a:solidFill>
          <a:effectLst/>
          <a:latin typeface="+mn-lt"/>
          <a:ea typeface="+mn-ea"/>
          <a:cs typeface="+mn-cs"/>
        </a:defRPr>
      </a:lvl2pPr>
      <a:lvl3pPr marL="730826" indent="-228383" algn="l" defTabSz="456766" rtl="0" eaLnBrk="1" latinLnBrk="0" hangingPunct="1">
        <a:spcBef>
          <a:spcPts val="0"/>
        </a:spcBef>
        <a:spcAft>
          <a:spcPts val="300"/>
        </a:spcAft>
        <a:buClr>
          <a:schemeClr val="accent3"/>
        </a:buClr>
        <a:buFont typeface="Arial" panose="020B0604020202020204" pitchFamily="34" charset="0"/>
        <a:buChar char="•"/>
        <a:defRPr sz="1598" kern="1200" spc="-30" baseline="0">
          <a:solidFill>
            <a:schemeClr val="tx1"/>
          </a:solidFill>
          <a:effectLst/>
          <a:latin typeface="+mn-lt"/>
          <a:ea typeface="+mn-ea"/>
          <a:cs typeface="+mn-cs"/>
        </a:defRPr>
      </a:lvl3pPr>
      <a:lvl4pPr marL="913532" indent="-228383" algn="l" defTabSz="456766" rtl="0" eaLnBrk="1" latinLnBrk="0" hangingPunct="1">
        <a:spcBef>
          <a:spcPts val="0"/>
        </a:spcBef>
        <a:spcAft>
          <a:spcPts val="300"/>
        </a:spcAft>
        <a:buClr>
          <a:schemeClr val="accent3"/>
        </a:buClr>
        <a:buFont typeface="Arial" panose="020B0604020202020204" pitchFamily="34" charset="0"/>
        <a:buChar char="•"/>
        <a:defRPr sz="1399" kern="1200" spc="-30" baseline="0">
          <a:solidFill>
            <a:schemeClr val="tx1"/>
          </a:solidFill>
          <a:effectLst/>
          <a:latin typeface="+mn-lt"/>
          <a:ea typeface="+mn-ea"/>
          <a:cs typeface="+mn-cs"/>
        </a:defRPr>
      </a:lvl4pPr>
      <a:lvl5pPr marL="913532" indent="-228383" algn="l" defTabSz="456766" rtl="0" eaLnBrk="1" latinLnBrk="0" hangingPunct="1">
        <a:spcBef>
          <a:spcPts val="0"/>
        </a:spcBef>
        <a:spcAft>
          <a:spcPts val="300"/>
        </a:spcAft>
        <a:buClr>
          <a:schemeClr val="accent3"/>
        </a:buClr>
        <a:buFont typeface="Arial" panose="020B0604020202020204" pitchFamily="34" charset="0"/>
        <a:buChar char="•"/>
        <a:defRPr sz="1199" kern="1200" spc="-30" baseline="0">
          <a:solidFill>
            <a:schemeClr val="tx1"/>
          </a:solidFill>
          <a:effectLst/>
          <a:latin typeface="+mn-lt"/>
          <a:ea typeface="+mn-ea"/>
          <a:cs typeface="+mn-cs"/>
        </a:defRPr>
      </a:lvl5pPr>
      <a:lvl6pPr marL="2512211" indent="-228383" algn="l" defTabSz="456766" rtl="0" eaLnBrk="1" latinLnBrk="0" hangingPunct="1">
        <a:spcBef>
          <a:spcPct val="20000"/>
        </a:spcBef>
        <a:buFont typeface="Arial"/>
        <a:buChar char="•"/>
        <a:defRPr sz="1998" kern="1200">
          <a:solidFill>
            <a:schemeClr val="tx1"/>
          </a:solidFill>
          <a:latin typeface="+mn-lt"/>
          <a:ea typeface="+mn-ea"/>
          <a:cs typeface="+mn-cs"/>
        </a:defRPr>
      </a:lvl6pPr>
      <a:lvl7pPr marL="2968977" indent="-228383" algn="l" defTabSz="456766" rtl="0" eaLnBrk="1" latinLnBrk="0" hangingPunct="1">
        <a:spcBef>
          <a:spcPct val="20000"/>
        </a:spcBef>
        <a:buFont typeface="Arial"/>
        <a:buChar char="•"/>
        <a:defRPr sz="1998" kern="1200">
          <a:solidFill>
            <a:schemeClr val="tx1"/>
          </a:solidFill>
          <a:latin typeface="+mn-lt"/>
          <a:ea typeface="+mn-ea"/>
          <a:cs typeface="+mn-cs"/>
        </a:defRPr>
      </a:lvl7pPr>
      <a:lvl8pPr marL="3425742" indent="-228383" algn="l" defTabSz="456766" rtl="0" eaLnBrk="1" latinLnBrk="0" hangingPunct="1">
        <a:spcBef>
          <a:spcPct val="20000"/>
        </a:spcBef>
        <a:buFont typeface="Arial"/>
        <a:buChar char="•"/>
        <a:defRPr sz="1998" kern="1200">
          <a:solidFill>
            <a:schemeClr val="tx1"/>
          </a:solidFill>
          <a:latin typeface="+mn-lt"/>
          <a:ea typeface="+mn-ea"/>
          <a:cs typeface="+mn-cs"/>
        </a:defRPr>
      </a:lvl8pPr>
      <a:lvl9pPr marL="3882508" indent="-228383" algn="l" defTabSz="456766"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66" rtl="0" eaLnBrk="1" latinLnBrk="0" hangingPunct="1">
        <a:defRPr sz="1799" kern="1200">
          <a:solidFill>
            <a:schemeClr val="tx1"/>
          </a:solidFill>
          <a:latin typeface="+mn-lt"/>
          <a:ea typeface="+mn-ea"/>
          <a:cs typeface="+mn-cs"/>
        </a:defRPr>
      </a:lvl1pPr>
      <a:lvl2pPr marL="456766" algn="l" defTabSz="456766" rtl="0" eaLnBrk="1" latinLnBrk="0" hangingPunct="1">
        <a:defRPr sz="1799" kern="1200">
          <a:solidFill>
            <a:schemeClr val="tx1"/>
          </a:solidFill>
          <a:latin typeface="+mn-lt"/>
          <a:ea typeface="+mn-ea"/>
          <a:cs typeface="+mn-cs"/>
        </a:defRPr>
      </a:lvl2pPr>
      <a:lvl3pPr marL="913532" algn="l" defTabSz="456766" rtl="0" eaLnBrk="1" latinLnBrk="0" hangingPunct="1">
        <a:defRPr sz="1799" kern="1200">
          <a:solidFill>
            <a:schemeClr val="tx1"/>
          </a:solidFill>
          <a:latin typeface="+mn-lt"/>
          <a:ea typeface="+mn-ea"/>
          <a:cs typeface="+mn-cs"/>
        </a:defRPr>
      </a:lvl3pPr>
      <a:lvl4pPr marL="1370297" algn="l" defTabSz="456766" rtl="0" eaLnBrk="1" latinLnBrk="0" hangingPunct="1">
        <a:defRPr sz="1799" kern="1200">
          <a:solidFill>
            <a:schemeClr val="tx1"/>
          </a:solidFill>
          <a:latin typeface="+mn-lt"/>
          <a:ea typeface="+mn-ea"/>
          <a:cs typeface="+mn-cs"/>
        </a:defRPr>
      </a:lvl4pPr>
      <a:lvl5pPr marL="1827062" algn="l" defTabSz="456766" rtl="0" eaLnBrk="1" latinLnBrk="0" hangingPunct="1">
        <a:defRPr sz="1799" kern="1200">
          <a:solidFill>
            <a:schemeClr val="tx1"/>
          </a:solidFill>
          <a:latin typeface="+mn-lt"/>
          <a:ea typeface="+mn-ea"/>
          <a:cs typeface="+mn-cs"/>
        </a:defRPr>
      </a:lvl5pPr>
      <a:lvl6pPr marL="2283829" algn="l" defTabSz="456766" rtl="0" eaLnBrk="1" latinLnBrk="0" hangingPunct="1">
        <a:defRPr sz="1799" kern="1200">
          <a:solidFill>
            <a:schemeClr val="tx1"/>
          </a:solidFill>
          <a:latin typeface="+mn-lt"/>
          <a:ea typeface="+mn-ea"/>
          <a:cs typeface="+mn-cs"/>
        </a:defRPr>
      </a:lvl6pPr>
      <a:lvl7pPr marL="2740595" algn="l" defTabSz="456766" rtl="0" eaLnBrk="1" latinLnBrk="0" hangingPunct="1">
        <a:defRPr sz="1799" kern="1200">
          <a:solidFill>
            <a:schemeClr val="tx1"/>
          </a:solidFill>
          <a:latin typeface="+mn-lt"/>
          <a:ea typeface="+mn-ea"/>
          <a:cs typeface="+mn-cs"/>
        </a:defRPr>
      </a:lvl7pPr>
      <a:lvl8pPr marL="3197360" algn="l" defTabSz="456766" rtl="0" eaLnBrk="1" latinLnBrk="0" hangingPunct="1">
        <a:defRPr sz="1799" kern="1200">
          <a:solidFill>
            <a:schemeClr val="tx1"/>
          </a:solidFill>
          <a:latin typeface="+mn-lt"/>
          <a:ea typeface="+mn-ea"/>
          <a:cs typeface="+mn-cs"/>
        </a:defRPr>
      </a:lvl8pPr>
      <a:lvl9pPr marL="3654126" algn="l" defTabSz="456766"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93"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238730" y="188500"/>
            <a:ext cx="685800" cy="686435"/>
          </a:xfrm>
          <a:prstGeom prst="rect">
            <a:avLst/>
          </a:prstGeom>
        </p:spPr>
      </p:pic>
      <p:sp>
        <p:nvSpPr>
          <p:cNvPr id="7" name="Title 5"/>
          <p:cNvSpPr txBox="1">
            <a:spLocks/>
          </p:cNvSpPr>
          <p:nvPr userDrawn="1"/>
        </p:nvSpPr>
        <p:spPr>
          <a:xfrm>
            <a:off x="8238730" y="949708"/>
            <a:ext cx="685800" cy="326642"/>
          </a:xfrm>
          <a:prstGeom prst="rect">
            <a:avLst/>
          </a:prstGeom>
          <a:ln>
            <a:solidFill>
              <a:srgbClr val="3BB0C9"/>
            </a:solidFill>
          </a:ln>
        </p:spPr>
        <p:txBody>
          <a:bodyPr vert="horz" lIns="0" rIns="0"/>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a:defRPr/>
            </a:pPr>
            <a:r>
              <a:rPr lang="en-US" sz="1000" spc="0" dirty="0">
                <a:solidFill>
                  <a:srgbClr val="3BB0C9"/>
                </a:solidFill>
                <a:latin typeface="Calibri" panose="020F0502020204030204" pitchFamily="34" charset="0"/>
              </a:rPr>
              <a:t> </a:t>
            </a:r>
            <a:r>
              <a:rPr lang="en-US" sz="700" spc="0" dirty="0">
                <a:solidFill>
                  <a:srgbClr val="3BB0C9"/>
                </a:solidFill>
                <a:latin typeface="Calibri" panose="020F0502020204030204" pitchFamily="34" charset="0"/>
              </a:rPr>
              <a:t>BRAND</a:t>
            </a:r>
          </a:p>
          <a:p>
            <a:pPr>
              <a:defRPr/>
            </a:pPr>
            <a:r>
              <a:rPr lang="en-US" sz="700" spc="0" dirty="0">
                <a:solidFill>
                  <a:srgbClr val="3BB0C9"/>
                </a:solidFill>
                <a:latin typeface="Calibri" panose="020F0502020204030204" pitchFamily="34" charset="0"/>
              </a:rPr>
              <a:t>INTELLIGENCE IL</a:t>
            </a:r>
          </a:p>
        </p:txBody>
      </p:sp>
    </p:spTree>
    <p:extLst>
      <p:ext uri="{BB962C8B-B14F-4D97-AF65-F5344CB8AC3E}">
        <p14:creationId xmlns:p14="http://schemas.microsoft.com/office/powerpoint/2010/main" val="1398415976"/>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Lst>
  <p:hf hdr="0" ftr="0" dt="0"/>
  <p:txStyles>
    <p:titleStyle>
      <a:lvl1pPr algn="l" defTabSz="457200"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17"/>
          <p:cNvSpPr>
            <a:spLocks noGrp="1"/>
          </p:cNvSpPr>
          <p:nvPr>
            <p:ph type="sldNum" sz="quarter" idx="4"/>
          </p:nvPr>
        </p:nvSpPr>
        <p:spPr>
          <a:xfrm>
            <a:off x="8852851" y="4921782"/>
            <a:ext cx="290945" cy="220240"/>
          </a:xfrm>
          <a:prstGeom prst="rect">
            <a:avLst/>
          </a:prstGeom>
          <a:ln>
            <a:noFill/>
          </a:ln>
        </p:spPr>
        <p:txBody>
          <a:bodyPr/>
          <a:lstStyle>
            <a:lvl1pPr algn="ctr">
              <a:defRPr sz="599"/>
            </a:lvl1pPr>
          </a:lstStyle>
          <a:p>
            <a:fld id="{A34E5796-B6AC-4C80-ACD7-07B1272A6BDB}" type="slidenum">
              <a:rPr lang="en-US" smtClean="0"/>
              <a:pPr/>
              <a:t>‹#›</a:t>
            </a:fld>
            <a:endParaRPr lang="en-US"/>
          </a:p>
        </p:txBody>
      </p:sp>
      <p:sp>
        <p:nvSpPr>
          <p:cNvPr id="5" name="Title 5"/>
          <p:cNvSpPr txBox="1">
            <a:spLocks/>
          </p:cNvSpPr>
          <p:nvPr userDrawn="1"/>
        </p:nvSpPr>
        <p:spPr>
          <a:xfrm>
            <a:off x="8451686" y="569614"/>
            <a:ext cx="610101"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pic>
        <p:nvPicPr>
          <p:cNvPr id="7" name="Picture 6"/>
          <p:cNvPicPr>
            <a:picLocks noChangeAspect="1"/>
          </p:cNvPicPr>
          <p:nvPr userDrawn="1"/>
        </p:nvPicPr>
        <p:blipFill rotWithShape="1">
          <a:blip r:embed="rId13" cstate="print">
            <a:extLst>
              <a:ext uri="{28A0092B-C50C-407E-A947-70E740481C1C}">
                <a14:useLocalDpi xmlns:a14="http://schemas.microsoft.com/office/drawing/2010/main" val="0"/>
              </a:ext>
            </a:extLst>
          </a:blip>
          <a:srcRect t="9007"/>
          <a:stretch/>
        </p:blipFill>
        <p:spPr>
          <a:xfrm>
            <a:off x="8451686" y="2"/>
            <a:ext cx="610101" cy="555665"/>
          </a:xfrm>
          <a:prstGeom prst="rect">
            <a:avLst/>
          </a:prstGeom>
        </p:spPr>
      </p:pic>
    </p:spTree>
    <p:extLst>
      <p:ext uri="{BB962C8B-B14F-4D97-AF65-F5344CB8AC3E}">
        <p14:creationId xmlns:p14="http://schemas.microsoft.com/office/powerpoint/2010/main" val="1268902865"/>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Lst>
  <p:hf hdr="0" ftr="0" dt="0"/>
  <p:txStyles>
    <p:titleStyle>
      <a:lvl1pPr algn="l" defTabSz="456766" rtl="0" eaLnBrk="1" latinLnBrk="0" hangingPunct="1">
        <a:lnSpc>
          <a:spcPct val="80000"/>
        </a:lnSpc>
        <a:spcBef>
          <a:spcPct val="0"/>
        </a:spcBef>
        <a:buNone/>
        <a:defRPr sz="3197" b="1" kern="1200" spc="-50" baseline="0">
          <a:solidFill>
            <a:schemeClr val="tx1"/>
          </a:solidFill>
          <a:effectLst/>
          <a:latin typeface="+mj-lt"/>
          <a:ea typeface="+mj-ea"/>
          <a:cs typeface="+mj-cs"/>
        </a:defRPr>
      </a:lvl1pPr>
    </p:titleStyle>
    <p:bodyStyle>
      <a:lvl1pPr marL="342575" indent="-342575" algn="l" defTabSz="456766" rtl="0" eaLnBrk="1" latinLnBrk="0" hangingPunct="1">
        <a:spcBef>
          <a:spcPts val="400"/>
        </a:spcBef>
        <a:spcAft>
          <a:spcPts val="599"/>
        </a:spcAft>
        <a:buClr>
          <a:schemeClr val="accent3"/>
        </a:buClr>
        <a:buFont typeface="Arial" panose="020B0604020202020204" pitchFamily="34" charset="0"/>
        <a:buChar char="•"/>
        <a:defRPr sz="2398" kern="1200" spc="-30" baseline="0">
          <a:solidFill>
            <a:schemeClr val="tx1"/>
          </a:solidFill>
          <a:effectLst/>
          <a:latin typeface="+mn-lt"/>
          <a:ea typeface="+mn-ea"/>
          <a:cs typeface="+mn-cs"/>
        </a:defRPr>
      </a:lvl1pPr>
      <a:lvl2pPr marL="621202" indent="-285479" algn="l" defTabSz="456766" rtl="0" eaLnBrk="1" latinLnBrk="0" hangingPunct="1">
        <a:spcBef>
          <a:spcPts val="0"/>
        </a:spcBef>
        <a:spcAft>
          <a:spcPts val="300"/>
        </a:spcAft>
        <a:buClr>
          <a:schemeClr val="accent3"/>
        </a:buClr>
        <a:buFont typeface="Arial" panose="020B0604020202020204" pitchFamily="34" charset="0"/>
        <a:buChar char="•"/>
        <a:defRPr sz="1998" kern="1200" spc="-30" baseline="0">
          <a:solidFill>
            <a:schemeClr val="tx1"/>
          </a:solidFill>
          <a:effectLst/>
          <a:latin typeface="+mn-lt"/>
          <a:ea typeface="+mn-ea"/>
          <a:cs typeface="+mn-cs"/>
        </a:defRPr>
      </a:lvl2pPr>
      <a:lvl3pPr marL="730826" indent="-228383" algn="l" defTabSz="456766" rtl="0" eaLnBrk="1" latinLnBrk="0" hangingPunct="1">
        <a:spcBef>
          <a:spcPts val="0"/>
        </a:spcBef>
        <a:spcAft>
          <a:spcPts val="300"/>
        </a:spcAft>
        <a:buClr>
          <a:schemeClr val="accent3"/>
        </a:buClr>
        <a:buFont typeface="Arial" panose="020B0604020202020204" pitchFamily="34" charset="0"/>
        <a:buChar char="•"/>
        <a:defRPr sz="1598" kern="1200" spc="-30" baseline="0">
          <a:solidFill>
            <a:schemeClr val="tx1"/>
          </a:solidFill>
          <a:effectLst/>
          <a:latin typeface="+mn-lt"/>
          <a:ea typeface="+mn-ea"/>
          <a:cs typeface="+mn-cs"/>
        </a:defRPr>
      </a:lvl3pPr>
      <a:lvl4pPr marL="913532" indent="-228383" algn="l" defTabSz="456766" rtl="0" eaLnBrk="1" latinLnBrk="0" hangingPunct="1">
        <a:spcBef>
          <a:spcPts val="0"/>
        </a:spcBef>
        <a:spcAft>
          <a:spcPts val="300"/>
        </a:spcAft>
        <a:buClr>
          <a:schemeClr val="accent3"/>
        </a:buClr>
        <a:buFont typeface="Arial" panose="020B0604020202020204" pitchFamily="34" charset="0"/>
        <a:buChar char="•"/>
        <a:defRPr sz="1399" kern="1200" spc="-30" baseline="0">
          <a:solidFill>
            <a:schemeClr val="tx1"/>
          </a:solidFill>
          <a:effectLst/>
          <a:latin typeface="+mn-lt"/>
          <a:ea typeface="+mn-ea"/>
          <a:cs typeface="+mn-cs"/>
        </a:defRPr>
      </a:lvl4pPr>
      <a:lvl5pPr marL="913532" indent="-228383" algn="l" defTabSz="456766" rtl="0" eaLnBrk="1" latinLnBrk="0" hangingPunct="1">
        <a:spcBef>
          <a:spcPts val="0"/>
        </a:spcBef>
        <a:spcAft>
          <a:spcPts val="300"/>
        </a:spcAft>
        <a:buClr>
          <a:schemeClr val="accent3"/>
        </a:buClr>
        <a:buFont typeface="Arial" panose="020B0604020202020204" pitchFamily="34" charset="0"/>
        <a:buChar char="•"/>
        <a:defRPr sz="1199" kern="1200" spc="-30" baseline="0">
          <a:solidFill>
            <a:schemeClr val="tx1"/>
          </a:solidFill>
          <a:effectLst/>
          <a:latin typeface="+mn-lt"/>
          <a:ea typeface="+mn-ea"/>
          <a:cs typeface="+mn-cs"/>
        </a:defRPr>
      </a:lvl5pPr>
      <a:lvl6pPr marL="2512211" indent="-228383" algn="l" defTabSz="456766" rtl="0" eaLnBrk="1" latinLnBrk="0" hangingPunct="1">
        <a:spcBef>
          <a:spcPct val="20000"/>
        </a:spcBef>
        <a:buFont typeface="Arial"/>
        <a:buChar char="•"/>
        <a:defRPr sz="1998" kern="1200">
          <a:solidFill>
            <a:schemeClr val="tx1"/>
          </a:solidFill>
          <a:latin typeface="+mn-lt"/>
          <a:ea typeface="+mn-ea"/>
          <a:cs typeface="+mn-cs"/>
        </a:defRPr>
      </a:lvl6pPr>
      <a:lvl7pPr marL="2968977" indent="-228383" algn="l" defTabSz="456766" rtl="0" eaLnBrk="1" latinLnBrk="0" hangingPunct="1">
        <a:spcBef>
          <a:spcPct val="20000"/>
        </a:spcBef>
        <a:buFont typeface="Arial"/>
        <a:buChar char="•"/>
        <a:defRPr sz="1998" kern="1200">
          <a:solidFill>
            <a:schemeClr val="tx1"/>
          </a:solidFill>
          <a:latin typeface="+mn-lt"/>
          <a:ea typeface="+mn-ea"/>
          <a:cs typeface="+mn-cs"/>
        </a:defRPr>
      </a:lvl7pPr>
      <a:lvl8pPr marL="3425742" indent="-228383" algn="l" defTabSz="456766" rtl="0" eaLnBrk="1" latinLnBrk="0" hangingPunct="1">
        <a:spcBef>
          <a:spcPct val="20000"/>
        </a:spcBef>
        <a:buFont typeface="Arial"/>
        <a:buChar char="•"/>
        <a:defRPr sz="1998" kern="1200">
          <a:solidFill>
            <a:schemeClr val="tx1"/>
          </a:solidFill>
          <a:latin typeface="+mn-lt"/>
          <a:ea typeface="+mn-ea"/>
          <a:cs typeface="+mn-cs"/>
        </a:defRPr>
      </a:lvl8pPr>
      <a:lvl9pPr marL="3882508" indent="-228383" algn="l" defTabSz="456766"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66" rtl="0" eaLnBrk="1" latinLnBrk="0" hangingPunct="1">
        <a:defRPr sz="1799" kern="1200">
          <a:solidFill>
            <a:schemeClr val="tx1"/>
          </a:solidFill>
          <a:latin typeface="+mn-lt"/>
          <a:ea typeface="+mn-ea"/>
          <a:cs typeface="+mn-cs"/>
        </a:defRPr>
      </a:lvl1pPr>
      <a:lvl2pPr marL="456766" algn="l" defTabSz="456766" rtl="0" eaLnBrk="1" latinLnBrk="0" hangingPunct="1">
        <a:defRPr sz="1799" kern="1200">
          <a:solidFill>
            <a:schemeClr val="tx1"/>
          </a:solidFill>
          <a:latin typeface="+mn-lt"/>
          <a:ea typeface="+mn-ea"/>
          <a:cs typeface="+mn-cs"/>
        </a:defRPr>
      </a:lvl2pPr>
      <a:lvl3pPr marL="913532" algn="l" defTabSz="456766" rtl="0" eaLnBrk="1" latinLnBrk="0" hangingPunct="1">
        <a:defRPr sz="1799" kern="1200">
          <a:solidFill>
            <a:schemeClr val="tx1"/>
          </a:solidFill>
          <a:latin typeface="+mn-lt"/>
          <a:ea typeface="+mn-ea"/>
          <a:cs typeface="+mn-cs"/>
        </a:defRPr>
      </a:lvl3pPr>
      <a:lvl4pPr marL="1370297" algn="l" defTabSz="456766" rtl="0" eaLnBrk="1" latinLnBrk="0" hangingPunct="1">
        <a:defRPr sz="1799" kern="1200">
          <a:solidFill>
            <a:schemeClr val="tx1"/>
          </a:solidFill>
          <a:latin typeface="+mn-lt"/>
          <a:ea typeface="+mn-ea"/>
          <a:cs typeface="+mn-cs"/>
        </a:defRPr>
      </a:lvl4pPr>
      <a:lvl5pPr marL="1827062" algn="l" defTabSz="456766" rtl="0" eaLnBrk="1" latinLnBrk="0" hangingPunct="1">
        <a:defRPr sz="1799" kern="1200">
          <a:solidFill>
            <a:schemeClr val="tx1"/>
          </a:solidFill>
          <a:latin typeface="+mn-lt"/>
          <a:ea typeface="+mn-ea"/>
          <a:cs typeface="+mn-cs"/>
        </a:defRPr>
      </a:lvl5pPr>
      <a:lvl6pPr marL="2283829" algn="l" defTabSz="456766" rtl="0" eaLnBrk="1" latinLnBrk="0" hangingPunct="1">
        <a:defRPr sz="1799" kern="1200">
          <a:solidFill>
            <a:schemeClr val="tx1"/>
          </a:solidFill>
          <a:latin typeface="+mn-lt"/>
          <a:ea typeface="+mn-ea"/>
          <a:cs typeface="+mn-cs"/>
        </a:defRPr>
      </a:lvl6pPr>
      <a:lvl7pPr marL="2740595" algn="l" defTabSz="456766" rtl="0" eaLnBrk="1" latinLnBrk="0" hangingPunct="1">
        <a:defRPr sz="1799" kern="1200">
          <a:solidFill>
            <a:schemeClr val="tx1"/>
          </a:solidFill>
          <a:latin typeface="+mn-lt"/>
          <a:ea typeface="+mn-ea"/>
          <a:cs typeface="+mn-cs"/>
        </a:defRPr>
      </a:lvl7pPr>
      <a:lvl8pPr marL="3197360" algn="l" defTabSz="456766" rtl="0" eaLnBrk="1" latinLnBrk="0" hangingPunct="1">
        <a:defRPr sz="1799" kern="1200">
          <a:solidFill>
            <a:schemeClr val="tx1"/>
          </a:solidFill>
          <a:latin typeface="+mn-lt"/>
          <a:ea typeface="+mn-ea"/>
          <a:cs typeface="+mn-cs"/>
        </a:defRPr>
      </a:lvl8pPr>
      <a:lvl9pPr marL="3654126" algn="l" defTabSz="456766" rtl="0" eaLnBrk="1" latinLnBrk="0" hangingPunct="1">
        <a:defRPr sz="1799"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63" name="think-cell Slide" r:id="rId17" imgW="270" imgH="270" progId="TCLayout.ActiveDocument.1">
                  <p:embed/>
                </p:oleObj>
              </mc:Choice>
              <mc:Fallback>
                <p:oleObj name="think-cell Slide" r:id="rId17" imgW="270" imgH="270"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238730" y="188500"/>
            <a:ext cx="685800" cy="686435"/>
          </a:xfrm>
          <a:prstGeom prst="rect">
            <a:avLst/>
          </a:prstGeom>
        </p:spPr>
      </p:pic>
      <p:sp>
        <p:nvSpPr>
          <p:cNvPr id="7" name="Title 5"/>
          <p:cNvSpPr txBox="1">
            <a:spLocks/>
          </p:cNvSpPr>
          <p:nvPr userDrawn="1"/>
        </p:nvSpPr>
        <p:spPr>
          <a:xfrm>
            <a:off x="8238730" y="901281"/>
            <a:ext cx="685800"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spTree>
    <p:extLst>
      <p:ext uri="{BB962C8B-B14F-4D97-AF65-F5344CB8AC3E}">
        <p14:creationId xmlns:p14="http://schemas.microsoft.com/office/powerpoint/2010/main" val="1518550666"/>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4046" r:id="rId13"/>
  </p:sldLayoutIdLst>
  <p:hf hdr="0" ftr="0" dt="0"/>
  <p:txStyles>
    <p:titleStyle>
      <a:lvl1pPr algn="l" defTabSz="457200"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343013596"/>
      </p:ext>
    </p:extLst>
  </p:cSld>
  <p:clrMap bg1="lt1" tx1="dk1" bg2="lt2" tx2="dk2" accent1="accent1" accent2="accent2" accent3="accent3" accent4="accent4" accent5="accent5" accent6="accent6" hlink="hlink" folHlink="folHlink"/>
  <p:sldLayoutIdLst>
    <p:sldLayoutId id="2147483691" r:id="rId1"/>
    <p:sldLayoutId id="2147483685"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17"/>
          <p:cNvSpPr>
            <a:spLocks noGrp="1"/>
          </p:cNvSpPr>
          <p:nvPr>
            <p:ph type="sldNum" sz="quarter" idx="4"/>
          </p:nvPr>
        </p:nvSpPr>
        <p:spPr>
          <a:xfrm>
            <a:off x="8852852" y="4921782"/>
            <a:ext cx="290945" cy="220240"/>
          </a:xfrm>
          <a:prstGeom prst="rect">
            <a:avLst/>
          </a:prstGeom>
          <a:ln>
            <a:noFill/>
          </a:ln>
        </p:spPr>
        <p:txBody>
          <a:bodyPr/>
          <a:lstStyle>
            <a:lvl1pPr algn="ctr">
              <a:defRPr sz="599"/>
            </a:lvl1pPr>
          </a:lstStyle>
          <a:p>
            <a:fld id="{A34E5796-B6AC-4C80-ACD7-07B1272A6BDB}" type="slidenum">
              <a:rPr lang="en-US" smtClean="0"/>
              <a:pPr/>
              <a:t>‹#›</a:t>
            </a:fld>
            <a:endParaRPr lang="en-US"/>
          </a:p>
        </p:txBody>
      </p:sp>
      <p:sp>
        <p:nvSpPr>
          <p:cNvPr id="5" name="Title 5"/>
          <p:cNvSpPr txBox="1">
            <a:spLocks/>
          </p:cNvSpPr>
          <p:nvPr userDrawn="1"/>
        </p:nvSpPr>
        <p:spPr>
          <a:xfrm>
            <a:off x="8451686" y="569614"/>
            <a:ext cx="610101"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196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196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pic>
        <p:nvPicPr>
          <p:cNvPr id="7" name="Picture 6"/>
          <p:cNvPicPr>
            <a:picLocks noChangeAspect="1"/>
          </p:cNvPicPr>
          <p:nvPr userDrawn="1"/>
        </p:nvPicPr>
        <p:blipFill rotWithShape="1">
          <a:blip r:embed="rId13" cstate="print">
            <a:extLst>
              <a:ext uri="{28A0092B-C50C-407E-A947-70E740481C1C}">
                <a14:useLocalDpi xmlns:a14="http://schemas.microsoft.com/office/drawing/2010/main" val="0"/>
              </a:ext>
            </a:extLst>
          </a:blip>
          <a:srcRect t="9007"/>
          <a:stretch/>
        </p:blipFill>
        <p:spPr>
          <a:xfrm>
            <a:off x="8451686" y="3"/>
            <a:ext cx="610101" cy="555665"/>
          </a:xfrm>
          <a:prstGeom prst="rect">
            <a:avLst/>
          </a:prstGeom>
        </p:spPr>
      </p:pic>
    </p:spTree>
    <p:extLst>
      <p:ext uri="{BB962C8B-B14F-4D97-AF65-F5344CB8AC3E}">
        <p14:creationId xmlns:p14="http://schemas.microsoft.com/office/powerpoint/2010/main" val="1740727065"/>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Lst>
  <p:hf hdr="0" ftr="0" dt="0"/>
  <p:txStyles>
    <p:titleStyle>
      <a:lvl1pPr algn="l" defTabSz="456755" rtl="0" eaLnBrk="1" latinLnBrk="0" hangingPunct="1">
        <a:lnSpc>
          <a:spcPct val="80000"/>
        </a:lnSpc>
        <a:spcBef>
          <a:spcPct val="0"/>
        </a:spcBef>
        <a:buNone/>
        <a:defRPr sz="3197" b="1" kern="1200" spc="-50" baseline="0">
          <a:solidFill>
            <a:schemeClr val="tx1"/>
          </a:solidFill>
          <a:effectLst/>
          <a:latin typeface="+mj-lt"/>
          <a:ea typeface="+mj-ea"/>
          <a:cs typeface="+mj-cs"/>
        </a:defRPr>
      </a:lvl1pPr>
    </p:titleStyle>
    <p:bodyStyle>
      <a:lvl1pPr marL="342566" indent="-342566" algn="l" defTabSz="456755" rtl="0" eaLnBrk="1" latinLnBrk="0" hangingPunct="1">
        <a:spcBef>
          <a:spcPts val="400"/>
        </a:spcBef>
        <a:spcAft>
          <a:spcPts val="599"/>
        </a:spcAft>
        <a:buClr>
          <a:schemeClr val="accent3"/>
        </a:buClr>
        <a:buFont typeface="Arial" panose="020B0604020202020204" pitchFamily="34" charset="0"/>
        <a:buChar char="•"/>
        <a:defRPr sz="2398" kern="1200" spc="-30" baseline="0">
          <a:solidFill>
            <a:schemeClr val="tx1"/>
          </a:solidFill>
          <a:effectLst/>
          <a:latin typeface="+mn-lt"/>
          <a:ea typeface="+mn-ea"/>
          <a:cs typeface="+mn-cs"/>
        </a:defRPr>
      </a:lvl1pPr>
      <a:lvl2pPr marL="621187" indent="-285472" algn="l" defTabSz="456755" rtl="0" eaLnBrk="1" latinLnBrk="0" hangingPunct="1">
        <a:spcBef>
          <a:spcPts val="0"/>
        </a:spcBef>
        <a:spcAft>
          <a:spcPts val="300"/>
        </a:spcAft>
        <a:buClr>
          <a:schemeClr val="accent3"/>
        </a:buClr>
        <a:buFont typeface="Arial" panose="020B0604020202020204" pitchFamily="34" charset="0"/>
        <a:buChar char="•"/>
        <a:defRPr sz="1998" kern="1200" spc="-30" baseline="0">
          <a:solidFill>
            <a:schemeClr val="tx1"/>
          </a:solidFill>
          <a:effectLst/>
          <a:latin typeface="+mn-lt"/>
          <a:ea typeface="+mn-ea"/>
          <a:cs typeface="+mn-cs"/>
        </a:defRPr>
      </a:lvl2pPr>
      <a:lvl3pPr marL="730808" indent="-228377" algn="l" defTabSz="456755" rtl="0" eaLnBrk="1" latinLnBrk="0" hangingPunct="1">
        <a:spcBef>
          <a:spcPts val="0"/>
        </a:spcBef>
        <a:spcAft>
          <a:spcPts val="300"/>
        </a:spcAft>
        <a:buClr>
          <a:schemeClr val="accent3"/>
        </a:buClr>
        <a:buFont typeface="Arial" panose="020B0604020202020204" pitchFamily="34" charset="0"/>
        <a:buChar char="•"/>
        <a:defRPr sz="1598" kern="1200" spc="-30" baseline="0">
          <a:solidFill>
            <a:schemeClr val="tx1"/>
          </a:solidFill>
          <a:effectLst/>
          <a:latin typeface="+mn-lt"/>
          <a:ea typeface="+mn-ea"/>
          <a:cs typeface="+mn-cs"/>
        </a:defRPr>
      </a:lvl3pPr>
      <a:lvl4pPr marL="913509" indent="-228377" algn="l" defTabSz="456755" rtl="0" eaLnBrk="1" latinLnBrk="0" hangingPunct="1">
        <a:spcBef>
          <a:spcPts val="0"/>
        </a:spcBef>
        <a:spcAft>
          <a:spcPts val="300"/>
        </a:spcAft>
        <a:buClr>
          <a:schemeClr val="accent3"/>
        </a:buClr>
        <a:buFont typeface="Arial" panose="020B0604020202020204" pitchFamily="34" charset="0"/>
        <a:buChar char="•"/>
        <a:defRPr sz="1399" kern="1200" spc="-30" baseline="0">
          <a:solidFill>
            <a:schemeClr val="tx1"/>
          </a:solidFill>
          <a:effectLst/>
          <a:latin typeface="+mn-lt"/>
          <a:ea typeface="+mn-ea"/>
          <a:cs typeface="+mn-cs"/>
        </a:defRPr>
      </a:lvl4pPr>
      <a:lvl5pPr marL="913509" indent="-228377" algn="l" defTabSz="456755" rtl="0" eaLnBrk="1" latinLnBrk="0" hangingPunct="1">
        <a:spcBef>
          <a:spcPts val="0"/>
        </a:spcBef>
        <a:spcAft>
          <a:spcPts val="300"/>
        </a:spcAft>
        <a:buClr>
          <a:schemeClr val="accent3"/>
        </a:buClr>
        <a:buFont typeface="Arial" panose="020B0604020202020204" pitchFamily="34" charset="0"/>
        <a:buChar char="•"/>
        <a:defRPr sz="1199" kern="1200" spc="-30" baseline="0">
          <a:solidFill>
            <a:schemeClr val="tx1"/>
          </a:solidFill>
          <a:effectLst/>
          <a:latin typeface="+mn-lt"/>
          <a:ea typeface="+mn-ea"/>
          <a:cs typeface="+mn-cs"/>
        </a:defRPr>
      </a:lvl5pPr>
      <a:lvl6pPr marL="2512148" indent="-228377" algn="l" defTabSz="456755" rtl="0" eaLnBrk="1" latinLnBrk="0" hangingPunct="1">
        <a:spcBef>
          <a:spcPct val="20000"/>
        </a:spcBef>
        <a:buFont typeface="Arial"/>
        <a:buChar char="•"/>
        <a:defRPr sz="1998" kern="1200">
          <a:solidFill>
            <a:schemeClr val="tx1"/>
          </a:solidFill>
          <a:latin typeface="+mn-lt"/>
          <a:ea typeface="+mn-ea"/>
          <a:cs typeface="+mn-cs"/>
        </a:defRPr>
      </a:lvl6pPr>
      <a:lvl7pPr marL="2968903" indent="-228377" algn="l" defTabSz="456755" rtl="0" eaLnBrk="1" latinLnBrk="0" hangingPunct="1">
        <a:spcBef>
          <a:spcPct val="20000"/>
        </a:spcBef>
        <a:buFont typeface="Arial"/>
        <a:buChar char="•"/>
        <a:defRPr sz="1998" kern="1200">
          <a:solidFill>
            <a:schemeClr val="tx1"/>
          </a:solidFill>
          <a:latin typeface="+mn-lt"/>
          <a:ea typeface="+mn-ea"/>
          <a:cs typeface="+mn-cs"/>
        </a:defRPr>
      </a:lvl7pPr>
      <a:lvl8pPr marL="3425657" indent="-228377" algn="l" defTabSz="456755" rtl="0" eaLnBrk="1" latinLnBrk="0" hangingPunct="1">
        <a:spcBef>
          <a:spcPct val="20000"/>
        </a:spcBef>
        <a:buFont typeface="Arial"/>
        <a:buChar char="•"/>
        <a:defRPr sz="1998" kern="1200">
          <a:solidFill>
            <a:schemeClr val="tx1"/>
          </a:solidFill>
          <a:latin typeface="+mn-lt"/>
          <a:ea typeface="+mn-ea"/>
          <a:cs typeface="+mn-cs"/>
        </a:defRPr>
      </a:lvl8pPr>
      <a:lvl9pPr marL="3882411" indent="-228377" algn="l" defTabSz="456755"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55" rtl="0" eaLnBrk="1" latinLnBrk="0" hangingPunct="1">
        <a:defRPr sz="1799" kern="1200">
          <a:solidFill>
            <a:schemeClr val="tx1"/>
          </a:solidFill>
          <a:latin typeface="+mn-lt"/>
          <a:ea typeface="+mn-ea"/>
          <a:cs typeface="+mn-cs"/>
        </a:defRPr>
      </a:lvl1pPr>
      <a:lvl2pPr marL="456755" algn="l" defTabSz="456755" rtl="0" eaLnBrk="1" latinLnBrk="0" hangingPunct="1">
        <a:defRPr sz="1799" kern="1200">
          <a:solidFill>
            <a:schemeClr val="tx1"/>
          </a:solidFill>
          <a:latin typeface="+mn-lt"/>
          <a:ea typeface="+mn-ea"/>
          <a:cs typeface="+mn-cs"/>
        </a:defRPr>
      </a:lvl2pPr>
      <a:lvl3pPr marL="913509" algn="l" defTabSz="456755" rtl="0" eaLnBrk="1" latinLnBrk="0" hangingPunct="1">
        <a:defRPr sz="1799" kern="1200">
          <a:solidFill>
            <a:schemeClr val="tx1"/>
          </a:solidFill>
          <a:latin typeface="+mn-lt"/>
          <a:ea typeface="+mn-ea"/>
          <a:cs typeface="+mn-cs"/>
        </a:defRPr>
      </a:lvl3pPr>
      <a:lvl4pPr marL="1370263" algn="l" defTabSz="456755" rtl="0" eaLnBrk="1" latinLnBrk="0" hangingPunct="1">
        <a:defRPr sz="1799" kern="1200">
          <a:solidFill>
            <a:schemeClr val="tx1"/>
          </a:solidFill>
          <a:latin typeface="+mn-lt"/>
          <a:ea typeface="+mn-ea"/>
          <a:cs typeface="+mn-cs"/>
        </a:defRPr>
      </a:lvl4pPr>
      <a:lvl5pPr marL="1827017" algn="l" defTabSz="456755" rtl="0" eaLnBrk="1" latinLnBrk="0" hangingPunct="1">
        <a:defRPr sz="1799" kern="1200">
          <a:solidFill>
            <a:schemeClr val="tx1"/>
          </a:solidFill>
          <a:latin typeface="+mn-lt"/>
          <a:ea typeface="+mn-ea"/>
          <a:cs typeface="+mn-cs"/>
        </a:defRPr>
      </a:lvl5pPr>
      <a:lvl6pPr marL="2283772" algn="l" defTabSz="456755" rtl="0" eaLnBrk="1" latinLnBrk="0" hangingPunct="1">
        <a:defRPr sz="1799" kern="1200">
          <a:solidFill>
            <a:schemeClr val="tx1"/>
          </a:solidFill>
          <a:latin typeface="+mn-lt"/>
          <a:ea typeface="+mn-ea"/>
          <a:cs typeface="+mn-cs"/>
        </a:defRPr>
      </a:lvl6pPr>
      <a:lvl7pPr marL="2740526" algn="l" defTabSz="456755" rtl="0" eaLnBrk="1" latinLnBrk="0" hangingPunct="1">
        <a:defRPr sz="1799" kern="1200">
          <a:solidFill>
            <a:schemeClr val="tx1"/>
          </a:solidFill>
          <a:latin typeface="+mn-lt"/>
          <a:ea typeface="+mn-ea"/>
          <a:cs typeface="+mn-cs"/>
        </a:defRPr>
      </a:lvl7pPr>
      <a:lvl8pPr marL="3197280" algn="l" defTabSz="456755" rtl="0" eaLnBrk="1" latinLnBrk="0" hangingPunct="1">
        <a:defRPr sz="1799" kern="1200">
          <a:solidFill>
            <a:schemeClr val="tx1"/>
          </a:solidFill>
          <a:latin typeface="+mn-lt"/>
          <a:ea typeface="+mn-ea"/>
          <a:cs typeface="+mn-cs"/>
        </a:defRPr>
      </a:lvl8pPr>
      <a:lvl9pPr marL="3654035" algn="l" defTabSz="456755" rtl="0" eaLnBrk="1" latinLnBrk="0" hangingPunct="1">
        <a:defRPr sz="1799"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5269"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589" y="1589"/>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238730" y="188501"/>
            <a:ext cx="685800" cy="686435"/>
          </a:xfrm>
          <a:prstGeom prst="rect">
            <a:avLst/>
          </a:prstGeom>
        </p:spPr>
      </p:pic>
      <p:sp>
        <p:nvSpPr>
          <p:cNvPr id="8" name="Title 5"/>
          <p:cNvSpPr txBox="1">
            <a:spLocks/>
          </p:cNvSpPr>
          <p:nvPr userDrawn="1"/>
        </p:nvSpPr>
        <p:spPr>
          <a:xfrm>
            <a:off x="8238730" y="901282"/>
            <a:ext cx="685800"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spTree>
    <p:extLst>
      <p:ext uri="{BB962C8B-B14F-4D97-AF65-F5344CB8AC3E}">
        <p14:creationId xmlns:p14="http://schemas.microsoft.com/office/powerpoint/2010/main" val="576363504"/>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Lst>
  <p:hf hdr="0" ftr="0" dt="0"/>
  <p:txStyles>
    <p:titleStyle>
      <a:lvl1pPr algn="l" defTabSz="457189"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892" indent="-342892" algn="l" defTabSz="457189"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76" indent="-285743" algn="l" defTabSz="457189"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02" indent="-228594" algn="l" defTabSz="457189"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90"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238730" y="188500"/>
            <a:ext cx="685800" cy="686435"/>
          </a:xfrm>
          <a:prstGeom prst="rect">
            <a:avLst/>
          </a:prstGeom>
        </p:spPr>
      </p:pic>
      <p:sp>
        <p:nvSpPr>
          <p:cNvPr id="8" name="Title 5"/>
          <p:cNvSpPr txBox="1">
            <a:spLocks/>
          </p:cNvSpPr>
          <p:nvPr userDrawn="1"/>
        </p:nvSpPr>
        <p:spPr>
          <a:xfrm>
            <a:off x="8238730" y="901281"/>
            <a:ext cx="685800"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spTree>
    <p:extLst>
      <p:ext uri="{BB962C8B-B14F-4D97-AF65-F5344CB8AC3E}">
        <p14:creationId xmlns:p14="http://schemas.microsoft.com/office/powerpoint/2010/main" val="2296016122"/>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Lst>
  <p:hf hdr="0" ftr="0" dt="0"/>
  <p:txStyles>
    <p:titleStyle>
      <a:lvl1pPr algn="l" defTabSz="457200"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200"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89" y="1589"/>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238730" y="188501"/>
            <a:ext cx="685800" cy="686435"/>
          </a:xfrm>
          <a:prstGeom prst="rect">
            <a:avLst/>
          </a:prstGeom>
        </p:spPr>
      </p:pic>
      <p:sp>
        <p:nvSpPr>
          <p:cNvPr id="7" name="Title 5"/>
          <p:cNvSpPr txBox="1">
            <a:spLocks/>
          </p:cNvSpPr>
          <p:nvPr userDrawn="1"/>
        </p:nvSpPr>
        <p:spPr>
          <a:xfrm>
            <a:off x="8238730" y="901282"/>
            <a:ext cx="685800"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spTree>
    <p:extLst>
      <p:ext uri="{BB962C8B-B14F-4D97-AF65-F5344CB8AC3E}">
        <p14:creationId xmlns:p14="http://schemas.microsoft.com/office/powerpoint/2010/main" val="3684201376"/>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Lst>
  <p:hf hdr="0" ftr="0" dt="0"/>
  <p:txStyles>
    <p:titleStyle>
      <a:lvl1pPr algn="l" defTabSz="457189"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892" indent="-342892" algn="l" defTabSz="457189"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76" indent="-285743" algn="l" defTabSz="457189"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02" indent="-228594" algn="l" defTabSz="457189"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234"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89" y="1589"/>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9" y="4921782"/>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238730" y="188501"/>
            <a:ext cx="685800" cy="686435"/>
          </a:xfrm>
          <a:prstGeom prst="rect">
            <a:avLst/>
          </a:prstGeom>
        </p:spPr>
      </p:pic>
      <p:sp>
        <p:nvSpPr>
          <p:cNvPr id="7" name="Title 5"/>
          <p:cNvSpPr txBox="1">
            <a:spLocks/>
          </p:cNvSpPr>
          <p:nvPr userDrawn="1"/>
        </p:nvSpPr>
        <p:spPr>
          <a:xfrm>
            <a:off x="8238730" y="901282"/>
            <a:ext cx="685800"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198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spTree>
    <p:extLst>
      <p:ext uri="{BB962C8B-B14F-4D97-AF65-F5344CB8AC3E}">
        <p14:creationId xmlns:p14="http://schemas.microsoft.com/office/powerpoint/2010/main" val="3630964476"/>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Lst>
  <p:hf hdr="0" ftr="0" dt="0"/>
  <p:txStyles>
    <p:titleStyle>
      <a:lvl1pPr algn="l" defTabSz="457189"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892" indent="-342892" algn="l" defTabSz="457189"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76" indent="-285743" algn="l" defTabSz="457189"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02" indent="-228594" algn="l" defTabSz="457189"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378" indent="-228594" algn="l" defTabSz="457189"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17"/>
          <p:cNvSpPr txBox="1">
            <a:spLocks/>
          </p:cNvSpPr>
          <p:nvPr/>
        </p:nvSpPr>
        <p:spPr>
          <a:xfrm>
            <a:off x="8741027" y="4958464"/>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mtClean="0">
                <a:solidFill>
                  <a:prstClr val="black">
                    <a:lumMod val="95000"/>
                    <a:lumOff val="5000"/>
                  </a:prstClr>
                </a:solidFill>
              </a:rPr>
              <a:pPr algn="r"/>
              <a:t>‹#›</a:t>
            </a:fld>
            <a:endParaRPr lang="en-US" dirty="0">
              <a:solidFill>
                <a:prstClr val="black">
                  <a:lumMod val="95000"/>
                  <a:lumOff val="5000"/>
                </a:prstClr>
              </a:solidFill>
            </a:endParaRPr>
          </a:p>
        </p:txBody>
      </p:sp>
    </p:spTree>
    <p:extLst>
      <p:ext uri="{BB962C8B-B14F-4D97-AF65-F5344CB8AC3E}">
        <p14:creationId xmlns:p14="http://schemas.microsoft.com/office/powerpoint/2010/main" val="118001437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8" r:id="rId5"/>
    <p:sldLayoutId id="2147483709" r:id="rId6"/>
  </p:sldLayoutIdLst>
  <p:txStyles>
    <p:titleStyle>
      <a:lvl1pPr algn="l" defTabSz="457200" rtl="0" eaLnBrk="1" latinLnBrk="0" hangingPunct="1">
        <a:lnSpc>
          <a:spcPct val="90000"/>
        </a:lnSpc>
        <a:spcBef>
          <a:spcPct val="0"/>
        </a:spcBef>
        <a:buNone/>
        <a:defRPr sz="2000" b="1" kern="1200" spc="-150" baseline="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17"/>
          <p:cNvSpPr txBox="1">
            <a:spLocks/>
          </p:cNvSpPr>
          <p:nvPr/>
        </p:nvSpPr>
        <p:spPr>
          <a:xfrm>
            <a:off x="8741027" y="4958464"/>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mtClean="0">
                <a:solidFill>
                  <a:prstClr val="black">
                    <a:lumMod val="95000"/>
                    <a:lumOff val="5000"/>
                  </a:prstClr>
                </a:solidFill>
              </a:rPr>
              <a:pPr algn="r"/>
              <a:t>‹#›</a:t>
            </a:fld>
            <a:endParaRPr lang="en-US" dirty="0">
              <a:solidFill>
                <a:prstClr val="black">
                  <a:lumMod val="95000"/>
                  <a:lumOff val="5000"/>
                </a:prstClr>
              </a:solidFill>
            </a:endParaRPr>
          </a:p>
        </p:txBody>
      </p:sp>
    </p:spTree>
    <p:extLst>
      <p:ext uri="{BB962C8B-B14F-4D97-AF65-F5344CB8AC3E}">
        <p14:creationId xmlns:p14="http://schemas.microsoft.com/office/powerpoint/2010/main" val="18777188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7" r:id="rId5"/>
    <p:sldLayoutId id="2147483748" r:id="rId6"/>
  </p:sldLayoutIdLst>
  <p:txStyles>
    <p:titleStyle>
      <a:lvl1pPr algn="l" defTabSz="457200" rtl="0" eaLnBrk="1" latinLnBrk="0" hangingPunct="1">
        <a:lnSpc>
          <a:spcPct val="90000"/>
        </a:lnSpc>
        <a:spcBef>
          <a:spcPct val="0"/>
        </a:spcBef>
        <a:buNone/>
        <a:defRPr sz="2000" b="1" kern="1200" spc="-150" baseline="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7169"/>
            <a:ext cx="8555038" cy="569390"/>
          </a:xfrm>
          <a:prstGeom prst="rect">
            <a:avLst/>
          </a:prstGeom>
        </p:spPr>
        <p:txBody>
          <a:bodyPr vert="horz" lIns="91440" tIns="13716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228600" y="967478"/>
            <a:ext cx="8555038" cy="3697391"/>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3124200" y="4895126"/>
            <a:ext cx="2895600" cy="281812"/>
          </a:xfrm>
          <a:prstGeom prst="rect">
            <a:avLst/>
          </a:prstGeom>
        </p:spPr>
        <p:txBody>
          <a:bodyPr vert="horz" lIns="91440" tIns="45720" rIns="91440" bIns="45720" rtlCol="0" anchor="ctr"/>
          <a:lstStyle>
            <a:lvl1pPr algn="ctr">
              <a:defRPr sz="600">
                <a:solidFill>
                  <a:schemeClr val="accent6"/>
                </a:solidFill>
              </a:defRPr>
            </a:lvl1pPr>
          </a:lstStyle>
          <a:p>
            <a:endParaRPr lang="en-US" dirty="0">
              <a:solidFill>
                <a:srgbClr val="B4B4B4"/>
              </a:solidFill>
            </a:endParaRPr>
          </a:p>
        </p:txBody>
      </p:sp>
      <p:sp>
        <p:nvSpPr>
          <p:cNvPr id="6" name="Slide Number Placeholder 5"/>
          <p:cNvSpPr>
            <a:spLocks noGrp="1"/>
          </p:cNvSpPr>
          <p:nvPr>
            <p:ph type="sldNum" sz="quarter" idx="4"/>
          </p:nvPr>
        </p:nvSpPr>
        <p:spPr>
          <a:xfrm>
            <a:off x="8319186" y="4895126"/>
            <a:ext cx="800100" cy="281812"/>
          </a:xfrm>
          <a:prstGeom prst="rect">
            <a:avLst/>
          </a:prstGeom>
        </p:spPr>
        <p:txBody>
          <a:bodyPr vert="horz" lIns="91440" tIns="45720" rIns="91440" bIns="45720" rtlCol="0" anchor="ctr"/>
          <a:lstStyle>
            <a:lvl1pPr algn="r">
              <a:defRPr sz="600">
                <a:solidFill>
                  <a:schemeClr val="accent6"/>
                </a:solidFill>
              </a:defRPr>
            </a:lvl1pPr>
          </a:lstStyle>
          <a:p>
            <a:fld id="{52BB5B38-2141-4D75-B405-23F83BDD5945}" type="slidenum">
              <a:rPr lang="en-US" smtClean="0">
                <a:solidFill>
                  <a:srgbClr val="B4B4B4"/>
                </a:solidFill>
              </a:rPr>
              <a:pPr/>
              <a:t>‹#›</a:t>
            </a:fld>
            <a:endParaRPr lang="en-US">
              <a:solidFill>
                <a:srgbClr val="B4B4B4"/>
              </a:solidFill>
            </a:endParaRPr>
          </a:p>
        </p:txBody>
      </p:sp>
    </p:spTree>
    <p:extLst>
      <p:ext uri="{BB962C8B-B14F-4D97-AF65-F5344CB8AC3E}">
        <p14:creationId xmlns:p14="http://schemas.microsoft.com/office/powerpoint/2010/main" val="149160752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60" r:id="rId10"/>
  </p:sldLayoutIdLst>
  <p:transition xmlns:p14="http://schemas.microsoft.com/office/powerpoint/2010/main" spd="med">
    <p:fade/>
  </p:transition>
  <p:txStyles>
    <p:titleStyle>
      <a:lvl1pPr algn="l" defTabSz="685800" rtl="0" eaLnBrk="1" latinLnBrk="0" hangingPunct="1">
        <a:lnSpc>
          <a:spcPct val="80000"/>
        </a:lnSpc>
        <a:spcBef>
          <a:spcPct val="0"/>
        </a:spcBef>
        <a:buNone/>
        <a:defRPr sz="2100" b="0" kern="1200" cap="none" baseline="0">
          <a:solidFill>
            <a:schemeClr val="tx1"/>
          </a:solidFill>
          <a:latin typeface="+mj-lt"/>
          <a:ea typeface="+mj-ea"/>
          <a:cs typeface="+mj-cs"/>
        </a:defRPr>
      </a:lvl1pPr>
    </p:titleStyle>
    <p:bodyStyle>
      <a:lvl1pPr marL="0" indent="0" algn="l" defTabSz="685800" rtl="0" eaLnBrk="1" latinLnBrk="0" hangingPunct="1">
        <a:spcBef>
          <a:spcPct val="20000"/>
        </a:spcBef>
        <a:spcAft>
          <a:spcPts val="450"/>
        </a:spcAft>
        <a:buFont typeface="Arial" pitchFamily="34" charset="0"/>
        <a:buNone/>
        <a:defRPr sz="1125" kern="1200">
          <a:solidFill>
            <a:schemeClr val="bg1"/>
          </a:solidFill>
          <a:latin typeface="+mn-lt"/>
          <a:ea typeface="+mn-ea"/>
          <a:cs typeface="+mn-cs"/>
        </a:defRPr>
      </a:lvl1pPr>
      <a:lvl2pPr marL="214313" indent="-88106" algn="l" defTabSz="685800" rtl="0" eaLnBrk="1" latinLnBrk="0" hangingPunct="1">
        <a:spcBef>
          <a:spcPct val="20000"/>
        </a:spcBef>
        <a:spcAft>
          <a:spcPts val="450"/>
        </a:spcAft>
        <a:buFont typeface="Arial" pitchFamily="34" charset="0"/>
        <a:buChar char="•"/>
        <a:defRPr sz="975" kern="1200">
          <a:solidFill>
            <a:schemeClr val="bg1"/>
          </a:solidFill>
          <a:latin typeface="+mn-lt"/>
          <a:ea typeface="+mn-ea"/>
          <a:cs typeface="+mn-cs"/>
        </a:defRPr>
      </a:lvl2pPr>
      <a:lvl3pPr marL="345281" indent="-86916" algn="l" defTabSz="685800" rtl="0" eaLnBrk="1" latinLnBrk="0" hangingPunct="1">
        <a:spcBef>
          <a:spcPct val="20000"/>
        </a:spcBef>
        <a:spcAft>
          <a:spcPts val="450"/>
        </a:spcAft>
        <a:buFont typeface="Arial" pitchFamily="34" charset="0"/>
        <a:buChar char="•"/>
        <a:defRPr sz="900" kern="1200">
          <a:solidFill>
            <a:schemeClr val="bg1"/>
          </a:solidFill>
          <a:latin typeface="+mn-lt"/>
          <a:ea typeface="+mn-ea"/>
          <a:cs typeface="+mn-cs"/>
        </a:defRPr>
      </a:lvl3pPr>
      <a:lvl4pPr marL="471488" indent="-86916" algn="l" defTabSz="685800" rtl="0" eaLnBrk="1" latinLnBrk="0" hangingPunct="1">
        <a:spcBef>
          <a:spcPct val="20000"/>
        </a:spcBef>
        <a:spcAft>
          <a:spcPts val="450"/>
        </a:spcAft>
        <a:buFont typeface="Arial" pitchFamily="34" charset="0"/>
        <a:buChar char="•"/>
        <a:defRPr sz="825" kern="1200">
          <a:solidFill>
            <a:schemeClr val="bg1"/>
          </a:solidFill>
          <a:latin typeface="+mn-lt"/>
          <a:ea typeface="+mn-ea"/>
          <a:cs typeface="+mn-cs"/>
        </a:defRPr>
      </a:lvl4pPr>
      <a:lvl5pPr marL="597694" indent="-82154" algn="l" defTabSz="685800" rtl="0" eaLnBrk="1" latinLnBrk="0" hangingPunct="1">
        <a:spcBef>
          <a:spcPct val="20000"/>
        </a:spcBef>
        <a:spcAft>
          <a:spcPts val="450"/>
        </a:spcAft>
        <a:buFont typeface="Arial" pitchFamily="34" charset="0"/>
        <a:buChar char="•"/>
        <a:defRPr sz="825" kern="1200">
          <a:solidFill>
            <a:schemeClr val="bg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17"/>
          <p:cNvSpPr txBox="1">
            <a:spLocks/>
          </p:cNvSpPr>
          <p:nvPr/>
        </p:nvSpPr>
        <p:spPr>
          <a:xfrm>
            <a:off x="8741027" y="4958464"/>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mtClean="0">
                <a:solidFill>
                  <a:prstClr val="black">
                    <a:lumMod val="95000"/>
                    <a:lumOff val="5000"/>
                  </a:prstClr>
                </a:solidFill>
              </a:rPr>
              <a:pPr algn="r"/>
              <a:t>‹#›</a:t>
            </a:fld>
            <a:endParaRPr lang="en-US" dirty="0">
              <a:solidFill>
                <a:prstClr val="black">
                  <a:lumMod val="95000"/>
                  <a:lumOff val="5000"/>
                </a:prstClr>
              </a:solidFill>
            </a:endParaRPr>
          </a:p>
        </p:txBody>
      </p:sp>
    </p:spTree>
    <p:extLst>
      <p:ext uri="{BB962C8B-B14F-4D97-AF65-F5344CB8AC3E}">
        <p14:creationId xmlns:p14="http://schemas.microsoft.com/office/powerpoint/2010/main" val="482885898"/>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Lst>
  <p:txStyles>
    <p:titleStyle>
      <a:lvl1pPr algn="l" defTabSz="457200" rtl="0" eaLnBrk="1" latinLnBrk="0" hangingPunct="1">
        <a:lnSpc>
          <a:spcPct val="90000"/>
        </a:lnSpc>
        <a:spcBef>
          <a:spcPct val="0"/>
        </a:spcBef>
        <a:buNone/>
        <a:defRPr sz="2000" b="1" kern="1200" spc="-150" baseline="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17"/>
          <p:cNvSpPr txBox="1">
            <a:spLocks/>
          </p:cNvSpPr>
          <p:nvPr/>
        </p:nvSpPr>
        <p:spPr>
          <a:xfrm>
            <a:off x="8741027" y="4958464"/>
            <a:ext cx="402973" cy="189406"/>
          </a:xfrm>
          <a:prstGeom prst="rect">
            <a:avLst/>
          </a:prstGeom>
          <a:ln>
            <a:noFill/>
          </a:ln>
        </p:spPr>
        <p:txBody>
          <a:bodyPr/>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34E5796-B6AC-4C80-ACD7-07B1272A6BDB}" type="slidenum">
              <a:rPr lang="en-US" smtClean="0">
                <a:solidFill>
                  <a:prstClr val="black">
                    <a:lumMod val="95000"/>
                    <a:lumOff val="5000"/>
                  </a:prstClr>
                </a:solidFill>
              </a:rPr>
              <a:pPr algn="r"/>
              <a:t>‹#›</a:t>
            </a:fld>
            <a:endParaRPr lang="en-US" dirty="0">
              <a:solidFill>
                <a:prstClr val="black">
                  <a:lumMod val="95000"/>
                  <a:lumOff val="5000"/>
                </a:prstClr>
              </a:solidFill>
            </a:endParaRPr>
          </a:p>
        </p:txBody>
      </p:sp>
    </p:spTree>
    <p:extLst>
      <p:ext uri="{BB962C8B-B14F-4D97-AF65-F5344CB8AC3E}">
        <p14:creationId xmlns:p14="http://schemas.microsoft.com/office/powerpoint/2010/main" val="135636251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Lst>
  <p:txStyles>
    <p:titleStyle>
      <a:lvl1pPr algn="l" defTabSz="457200" rtl="0" eaLnBrk="1" latinLnBrk="0" hangingPunct="1">
        <a:lnSpc>
          <a:spcPct val="90000"/>
        </a:lnSpc>
        <a:spcBef>
          <a:spcPct val="0"/>
        </a:spcBef>
        <a:buNone/>
        <a:defRPr sz="2000" b="1" kern="1200" spc="-150" baseline="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5"/>
          <a:stretch>
            <a:fillRect/>
          </a:stretch>
        </p:blipFill>
        <p:spPr>
          <a:xfrm>
            <a:off x="0" y="1110"/>
            <a:ext cx="9144000" cy="5141279"/>
          </a:xfrm>
          <a:prstGeom prst="rect">
            <a:avLst/>
          </a:prstGeom>
        </p:spPr>
      </p:pic>
      <p:sp>
        <p:nvSpPr>
          <p:cNvPr id="26" name="Slide Number Placeholder 23"/>
          <p:cNvSpPr>
            <a:spLocks noGrp="1"/>
          </p:cNvSpPr>
          <p:nvPr>
            <p:ph type="sldNum" sz="quarter" idx="4"/>
          </p:nvPr>
        </p:nvSpPr>
        <p:spPr>
          <a:xfrm>
            <a:off x="8919415" y="4935931"/>
            <a:ext cx="199187" cy="101304"/>
          </a:xfrm>
          <a:prstGeom prst="rect">
            <a:avLst/>
          </a:prstGeom>
        </p:spPr>
        <p:txBody>
          <a:bodyPr vert="horz" lIns="0" tIns="0" rIns="0" bIns="0" rtlCol="0" anchor="t" anchorCtr="0"/>
          <a:lstStyle>
            <a:lvl1pPr algn="l">
              <a:defRPr sz="599">
                <a:solidFill>
                  <a:schemeClr val="bg2"/>
                </a:solidFill>
              </a:defRPr>
            </a:lvl1pPr>
          </a:lstStyle>
          <a:p>
            <a:fld id="{05B8F0D5-F301-8E40-857B-79C0FA3150AF}" type="slidenum">
              <a:rPr lang="en-US" smtClean="0"/>
              <a:pPr/>
              <a:t>‹#›</a:t>
            </a:fld>
            <a:endParaRPr lang="en-US" dirty="0"/>
          </a:p>
        </p:txBody>
      </p:sp>
    </p:spTree>
    <p:extLst>
      <p:ext uri="{BB962C8B-B14F-4D97-AF65-F5344CB8AC3E}">
        <p14:creationId xmlns:p14="http://schemas.microsoft.com/office/powerpoint/2010/main" val="2056161294"/>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800" r:id="rId10"/>
    <p:sldLayoutId id="2147483801" r:id="rId11"/>
    <p:sldLayoutId id="2147483802" r:id="rId12"/>
    <p:sldLayoutId id="2147483803" r:id="rId13"/>
  </p:sldLayoutIdLst>
  <p:hf hdr="0" dt="0"/>
  <p:txStyles>
    <p:titleStyle>
      <a:lvl1pPr algn="l" defTabSz="685183" rtl="0" eaLnBrk="1" latinLnBrk="0" hangingPunct="1">
        <a:lnSpc>
          <a:spcPct val="90000"/>
        </a:lnSpc>
        <a:spcBef>
          <a:spcPct val="0"/>
        </a:spcBef>
        <a:buNone/>
        <a:defRPr sz="3297" kern="1200">
          <a:solidFill>
            <a:schemeClr val="tx1"/>
          </a:solidFill>
          <a:latin typeface="+mj-lt"/>
          <a:ea typeface="+mj-ea"/>
          <a:cs typeface="+mj-cs"/>
        </a:defRPr>
      </a:lvl1pPr>
    </p:titleStyle>
    <p:bodyStyle>
      <a:lvl1pPr marL="171296" indent="-171296" algn="l" defTabSz="685183" rtl="0" eaLnBrk="1" latinLnBrk="0" hangingPunct="1">
        <a:lnSpc>
          <a:spcPct val="90000"/>
        </a:lnSpc>
        <a:spcBef>
          <a:spcPts val="749"/>
        </a:spcBef>
        <a:buFont typeface="Arial"/>
        <a:buChar char="•"/>
        <a:defRPr sz="2098" kern="1200">
          <a:solidFill>
            <a:schemeClr val="tx1"/>
          </a:solidFill>
          <a:latin typeface="+mn-lt"/>
          <a:ea typeface="+mn-ea"/>
          <a:cs typeface="+mn-cs"/>
        </a:defRPr>
      </a:lvl1pPr>
      <a:lvl2pPr marL="513887" indent="-171296" algn="l" defTabSz="685183" rtl="0" eaLnBrk="1" latinLnBrk="0" hangingPunct="1">
        <a:lnSpc>
          <a:spcPct val="90000"/>
        </a:lnSpc>
        <a:spcBef>
          <a:spcPts val="375"/>
        </a:spcBef>
        <a:buFont typeface="Arial"/>
        <a:buChar char="•"/>
        <a:defRPr sz="1798" kern="1200">
          <a:solidFill>
            <a:schemeClr val="tx1"/>
          </a:solidFill>
          <a:latin typeface="+mn-lt"/>
          <a:ea typeface="+mn-ea"/>
          <a:cs typeface="+mn-cs"/>
        </a:defRPr>
      </a:lvl2pPr>
      <a:lvl3pPr marL="856478" indent="-171296" algn="l" defTabSz="685183" rtl="0" eaLnBrk="1" latinLnBrk="0" hangingPunct="1">
        <a:lnSpc>
          <a:spcPct val="90000"/>
        </a:lnSpc>
        <a:spcBef>
          <a:spcPts val="375"/>
        </a:spcBef>
        <a:buFont typeface="Arial"/>
        <a:buChar char="•"/>
        <a:defRPr sz="1499" kern="1200">
          <a:solidFill>
            <a:schemeClr val="tx1"/>
          </a:solidFill>
          <a:latin typeface="+mn-lt"/>
          <a:ea typeface="+mn-ea"/>
          <a:cs typeface="+mn-cs"/>
        </a:defRPr>
      </a:lvl3pPr>
      <a:lvl4pPr marL="1199070"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4pPr>
      <a:lvl5pPr marL="1541661"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a:buChar char="•"/>
        <a:defRPr sz="1349" kern="1200">
          <a:solidFill>
            <a:schemeClr val="tx1"/>
          </a:solidFill>
          <a:latin typeface="+mn-lt"/>
          <a:ea typeface="+mn-ea"/>
          <a:cs typeface="+mn-cs"/>
        </a:defRPr>
      </a:lvl9pPr>
    </p:bodyStyle>
    <p:otherStyle>
      <a:defPPr>
        <a:defRPr lang="en-US"/>
      </a:defPPr>
      <a:lvl1pPr marL="0" algn="l" defTabSz="685183" rtl="0" eaLnBrk="1" latinLnBrk="0" hangingPunct="1">
        <a:defRPr sz="1349" kern="1200">
          <a:solidFill>
            <a:schemeClr val="tx1"/>
          </a:solidFill>
          <a:latin typeface="+mn-lt"/>
          <a:ea typeface="+mn-ea"/>
          <a:cs typeface="+mn-cs"/>
        </a:defRPr>
      </a:lvl1pPr>
      <a:lvl2pPr marL="342591" algn="l" defTabSz="685183" rtl="0" eaLnBrk="1" latinLnBrk="0" hangingPunct="1">
        <a:defRPr sz="1349" kern="1200">
          <a:solidFill>
            <a:schemeClr val="tx1"/>
          </a:solidFill>
          <a:latin typeface="+mn-lt"/>
          <a:ea typeface="+mn-ea"/>
          <a:cs typeface="+mn-cs"/>
        </a:defRPr>
      </a:lvl2pPr>
      <a:lvl3pPr marL="685183" algn="l" defTabSz="685183" rtl="0" eaLnBrk="1" latinLnBrk="0" hangingPunct="1">
        <a:defRPr sz="1349" kern="1200">
          <a:solidFill>
            <a:schemeClr val="tx1"/>
          </a:solidFill>
          <a:latin typeface="+mn-lt"/>
          <a:ea typeface="+mn-ea"/>
          <a:cs typeface="+mn-cs"/>
        </a:defRPr>
      </a:lvl3pPr>
      <a:lvl4pPr marL="1027774" algn="l" defTabSz="685183" rtl="0" eaLnBrk="1" latinLnBrk="0" hangingPunct="1">
        <a:defRPr sz="1349" kern="1200">
          <a:solidFill>
            <a:schemeClr val="tx1"/>
          </a:solidFill>
          <a:latin typeface="+mn-lt"/>
          <a:ea typeface="+mn-ea"/>
          <a:cs typeface="+mn-cs"/>
        </a:defRPr>
      </a:lvl4pPr>
      <a:lvl5pPr marL="1370366" algn="l" defTabSz="685183" rtl="0" eaLnBrk="1" latinLnBrk="0" hangingPunct="1">
        <a:defRPr sz="1349" kern="1200">
          <a:solidFill>
            <a:schemeClr val="tx1"/>
          </a:solidFill>
          <a:latin typeface="+mn-lt"/>
          <a:ea typeface="+mn-ea"/>
          <a:cs typeface="+mn-cs"/>
        </a:defRPr>
      </a:lvl5pPr>
      <a:lvl6pPr marL="1712957" algn="l" defTabSz="685183" rtl="0" eaLnBrk="1" latinLnBrk="0" hangingPunct="1">
        <a:defRPr sz="1349" kern="1200">
          <a:solidFill>
            <a:schemeClr val="tx1"/>
          </a:solidFill>
          <a:latin typeface="+mn-lt"/>
          <a:ea typeface="+mn-ea"/>
          <a:cs typeface="+mn-cs"/>
        </a:defRPr>
      </a:lvl6pPr>
      <a:lvl7pPr marL="2055548" algn="l" defTabSz="685183" rtl="0" eaLnBrk="1" latinLnBrk="0" hangingPunct="1">
        <a:defRPr sz="1349" kern="1200">
          <a:solidFill>
            <a:schemeClr val="tx1"/>
          </a:solidFill>
          <a:latin typeface="+mn-lt"/>
          <a:ea typeface="+mn-ea"/>
          <a:cs typeface="+mn-cs"/>
        </a:defRPr>
      </a:lvl7pPr>
      <a:lvl8pPr marL="2398140" algn="l" defTabSz="685183" rtl="0" eaLnBrk="1" latinLnBrk="0" hangingPunct="1">
        <a:defRPr sz="1349" kern="1200">
          <a:solidFill>
            <a:schemeClr val="tx1"/>
          </a:solidFill>
          <a:latin typeface="+mn-lt"/>
          <a:ea typeface="+mn-ea"/>
          <a:cs typeface="+mn-cs"/>
        </a:defRPr>
      </a:lvl8pPr>
      <a:lvl9pPr marL="2740731" algn="l" defTabSz="685183" rtl="0" eaLnBrk="1" latinLnBrk="0" hangingPunct="1">
        <a:defRPr sz="1349"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621">
          <p15:clr>
            <a:srgbClr val="F26B43"/>
          </p15:clr>
        </p15:guide>
        <p15:guide id="2" pos="2880">
          <p15:clr>
            <a:srgbClr val="F26B43"/>
          </p15:clr>
        </p15:guide>
        <p15:guide id="3" pos="199">
          <p15:clr>
            <a:srgbClr val="F26B43"/>
          </p15:clr>
        </p15:guide>
        <p15:guide id="4" orient="horz" pos="315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75"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4" name="Slide Number Placeholder 17"/>
          <p:cNvSpPr>
            <a:spLocks noGrp="1"/>
          </p:cNvSpPr>
          <p:nvPr>
            <p:ph type="sldNum" sz="quarter" idx="4"/>
          </p:nvPr>
        </p:nvSpPr>
        <p:spPr>
          <a:xfrm>
            <a:off x="8852848" y="4921781"/>
            <a:ext cx="290945" cy="220240"/>
          </a:xfrm>
          <a:prstGeom prst="rect">
            <a:avLst/>
          </a:prstGeom>
          <a:ln>
            <a:noFill/>
          </a:ln>
        </p:spPr>
        <p:txBody>
          <a:bodyPr/>
          <a:lstStyle>
            <a:lvl1pPr algn="ctr">
              <a:defRPr sz="600"/>
            </a:lvl1pPr>
          </a:lstStyle>
          <a:p>
            <a:fld id="{A34E5796-B6AC-4C80-ACD7-07B1272A6BDB}" type="slidenum">
              <a:rPr lang="en-US" smtClean="0"/>
              <a:pPr/>
              <a:t>‹#›</a:t>
            </a:fld>
            <a:endParaRPr lang="en-US"/>
          </a:p>
        </p:txBody>
      </p:sp>
      <p:pic>
        <p:nvPicPr>
          <p:cNvPr id="6" name="Picture 5"/>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238730" y="188500"/>
            <a:ext cx="685800" cy="686435"/>
          </a:xfrm>
          <a:prstGeom prst="rect">
            <a:avLst/>
          </a:prstGeom>
        </p:spPr>
      </p:pic>
      <p:sp>
        <p:nvSpPr>
          <p:cNvPr id="8" name="Title 5"/>
          <p:cNvSpPr txBox="1">
            <a:spLocks/>
          </p:cNvSpPr>
          <p:nvPr userDrawn="1"/>
        </p:nvSpPr>
        <p:spPr>
          <a:xfrm>
            <a:off x="8238730" y="901281"/>
            <a:ext cx="685800" cy="244982"/>
          </a:xfrm>
          <a:prstGeom prst="rect">
            <a:avLst/>
          </a:prstGeom>
          <a:ln>
            <a:solidFill>
              <a:srgbClr val="33B1CA"/>
            </a:solidFill>
          </a:ln>
        </p:spPr>
        <p:txBody>
          <a:bodyPr vert="horz" lIns="0" tIns="0" rIns="0" bIns="0" anchor="ctr"/>
          <a:lstStyle>
            <a:lvl1pPr algn="ctr" defTabSz="812760" rtl="0" eaLnBrk="1" latinLnBrk="0" hangingPunct="1">
              <a:lnSpc>
                <a:spcPct val="80000"/>
              </a:lnSpc>
              <a:spcBef>
                <a:spcPct val="0"/>
              </a:spcBef>
              <a:buNone/>
              <a:defRPr sz="8533" b="1" kern="1200" spc="-177">
                <a:solidFill>
                  <a:schemeClr val="bg1"/>
                </a:solidFill>
                <a:latin typeface="Arial"/>
                <a:ea typeface="+mj-ea"/>
                <a:cs typeface="Arial"/>
              </a:defRPr>
            </a:lvl1pPr>
          </a:lstStyle>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 BRAND</a:t>
            </a:r>
          </a:p>
          <a:p>
            <a:pPr marL="0" marR="0" lvl="0" indent="0" algn="ctr" defTabSz="812009" rtl="0" eaLnBrk="1" fontAlgn="auto" latinLnBrk="0" hangingPunct="1">
              <a:lnSpc>
                <a:spcPct val="80000"/>
              </a:lnSpc>
              <a:spcBef>
                <a:spcPct val="0"/>
              </a:spcBef>
              <a:spcAft>
                <a:spcPts val="0"/>
              </a:spcAft>
              <a:buClrTx/>
              <a:buSzTx/>
              <a:buFontTx/>
              <a:buNone/>
              <a:tabLst/>
              <a:defRPr/>
            </a:pPr>
            <a:r>
              <a:rPr kumimoji="0" lang="en-US" sz="599" b="1" i="0" u="none" strike="noStrike" kern="1200" cap="none" spc="0" normalizeH="0" baseline="0" noProof="0" dirty="0">
                <a:ln>
                  <a:noFill/>
                </a:ln>
                <a:solidFill>
                  <a:srgbClr val="33B1CA"/>
                </a:solidFill>
                <a:effectLst/>
                <a:uLnTx/>
                <a:uFillTx/>
                <a:latin typeface="Halvetica"/>
                <a:ea typeface="+mj-ea"/>
                <a:cs typeface="Arial"/>
              </a:rPr>
              <a:t>INTELLIGENCE IL</a:t>
            </a:r>
          </a:p>
        </p:txBody>
      </p:sp>
    </p:spTree>
    <p:extLst>
      <p:ext uri="{BB962C8B-B14F-4D97-AF65-F5344CB8AC3E}">
        <p14:creationId xmlns:p14="http://schemas.microsoft.com/office/powerpoint/2010/main" val="325502157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9" r:id="rId12"/>
  </p:sldLayoutIdLst>
  <p:hf hdr="0" ftr="0" dt="0"/>
  <p:txStyles>
    <p:titleStyle>
      <a:lvl1pPr algn="l" defTabSz="457200" rtl="0" eaLnBrk="1" latinLnBrk="0" hangingPunct="1">
        <a:lnSpc>
          <a:spcPct val="80000"/>
        </a:lnSpc>
        <a:spcBef>
          <a:spcPct val="0"/>
        </a:spcBef>
        <a:buNone/>
        <a:defRPr sz="3200" b="1" kern="1200" spc="-50" baseline="0">
          <a:solidFill>
            <a:schemeClr val="tx1"/>
          </a:solidFill>
          <a:effectLst/>
          <a:latin typeface="+mj-lt"/>
          <a:ea typeface="+mj-ea"/>
          <a:cs typeface="+mj-cs"/>
        </a:defRPr>
      </a:lvl1pPr>
    </p:titleStyle>
    <p:body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hyperlink" Target="http://www.aclweb.org/anthology/D14-1181" TargetMode="External"/><Relationship Id="rId4" Type="http://schemas.openxmlformats.org/officeDocument/2006/relationships/image" Target="../media/image24.png"/><Relationship Id="rId1" Type="http://schemas.openxmlformats.org/officeDocument/2006/relationships/slideLayout" Target="../slideLayouts/slideLayout182.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image" Target="../media/image22.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notesSlide" Target="../notesSlides/notesSlide7.xml"/><Relationship Id="rId3" Type="http://schemas.openxmlformats.org/officeDocument/2006/relationships/image" Target="../media/image2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image" Target="../media/image2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notesSlide" Target="../notesSlides/notesSlide8.xml"/><Relationship Id="rId3" Type="http://schemas.openxmlformats.org/officeDocument/2006/relationships/hyperlink" Target="https://arxiv.org/pdf/1706.03762.pdf"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3.xml"/><Relationship Id="rId2" Type="http://schemas.openxmlformats.org/officeDocument/2006/relationships/image" Target="../media/image19.png"/><Relationship Id="rId3" Type="http://schemas.openxmlformats.org/officeDocument/2006/relationships/hyperlink" Target="https://arxiv.org/abs/1804.04380"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image" Target="../media/image20.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hyperlink" Target="http://web2.cs.columbia.edu/~blei/seminar/2016_discrete_data/readings/MikolovSutskeverChenCorradoDean2013.pdf" TargetMode="External"/><Relationship Id="rId4" Type="http://schemas.openxmlformats.org/officeDocument/2006/relationships/image" Target="../media/image21.png"/><Relationship Id="rId1" Type="http://schemas.openxmlformats.org/officeDocument/2006/relationships/slideLayout" Target="../slideLayouts/slideLayout182.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hyperlink" Target="http://colah.github.io/posts/2015-08-Understanding-LSTMs/" TargetMode="External"/><Relationship Id="rId4" Type="http://schemas.openxmlformats.org/officeDocument/2006/relationships/image" Target="../media/image23.png"/><Relationship Id="rId5" Type="http://schemas.openxmlformats.org/officeDocument/2006/relationships/image" Target="../media/image22.emf"/><Relationship Id="rId1" Type="http://schemas.openxmlformats.org/officeDocument/2006/relationships/slideLayout" Target="../slideLayouts/slideLayout182.xml"/><Relationship Id="rId2"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ep Learning Solutions for Sentiment Detection</a:t>
            </a:r>
          </a:p>
        </p:txBody>
      </p:sp>
      <p:sp>
        <p:nvSpPr>
          <p:cNvPr id="3" name="Subtitle 2"/>
          <p:cNvSpPr>
            <a:spLocks noGrp="1"/>
          </p:cNvSpPr>
          <p:nvPr>
            <p:ph type="subTitle" idx="1"/>
          </p:nvPr>
        </p:nvSpPr>
        <p:spPr/>
        <p:txBody>
          <a:bodyPr/>
          <a:lstStyle/>
          <a:p>
            <a:r>
              <a:rPr lang="en-US" dirty="0" smtClean="0"/>
              <a:t>Alon Rozental</a:t>
            </a:r>
            <a:endParaRPr lang="en-US" dirty="0"/>
          </a:p>
        </p:txBody>
      </p:sp>
      <p:sp>
        <p:nvSpPr>
          <p:cNvPr id="4" name="Slide Number Placeholder 3"/>
          <p:cNvSpPr>
            <a:spLocks noGrp="1"/>
          </p:cNvSpPr>
          <p:nvPr>
            <p:ph type="sldNum" sz="quarter" idx="12"/>
          </p:nvPr>
        </p:nvSpPr>
        <p:spPr/>
        <p:txBody>
          <a:bodyPr/>
          <a:lstStyle/>
          <a:p>
            <a:fld id="{4661775B-D36D-4628-9EEA-86B3FCEAAE2F}" type="slidenum">
              <a:rPr lang="en-US" smtClean="0">
                <a:solidFill>
                  <a:prstClr val="black">
                    <a:tint val="75000"/>
                  </a:prstClr>
                </a:solidFill>
              </a:rPr>
              <a:pPr/>
              <a:t>1</a:t>
            </a:fld>
            <a:endParaRPr lang="en-US">
              <a:solidFill>
                <a:prstClr val="black">
                  <a:tint val="75000"/>
                </a:prstClr>
              </a:solidFill>
            </a:endParaRPr>
          </a:p>
        </p:txBody>
      </p:sp>
    </p:spTree>
    <p:extLst>
      <p:ext uri="{BB962C8B-B14F-4D97-AF65-F5344CB8AC3E}">
        <p14:creationId xmlns:p14="http://schemas.microsoft.com/office/powerpoint/2010/main" val="787582040"/>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61775B-D36D-4628-9EEA-86B3FCEAAE2F}" type="slidenum">
              <a:rPr lang="en-US" smtClean="0">
                <a:solidFill>
                  <a:prstClr val="black">
                    <a:tint val="75000"/>
                  </a:prstClr>
                </a:solidFill>
              </a:rPr>
              <a:pPr/>
              <a:t>10</a:t>
            </a:fld>
            <a:endParaRPr lang="en-US">
              <a:solidFill>
                <a:prstClr val="black">
                  <a:tint val="75000"/>
                </a:prstClr>
              </a:solidFill>
            </a:endParaRPr>
          </a:p>
        </p:txBody>
      </p:sp>
      <p:pic>
        <p:nvPicPr>
          <p:cNvPr id="5" name="Picture 4"/>
          <p:cNvPicPr>
            <a:picLocks noChangeAspect="1"/>
          </p:cNvPicPr>
          <p:nvPr/>
        </p:nvPicPr>
        <p:blipFill>
          <a:blip r:embed="rId2"/>
          <a:stretch>
            <a:fillRect/>
          </a:stretch>
        </p:blipFill>
        <p:spPr>
          <a:xfrm>
            <a:off x="0" y="2071007"/>
            <a:ext cx="9144000" cy="2939143"/>
          </a:xfrm>
          <a:prstGeom prst="rect">
            <a:avLst/>
          </a:prstGeom>
        </p:spPr>
      </p:pic>
      <p:sp>
        <p:nvSpPr>
          <p:cNvPr id="6"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Computational Graph</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8" name="Rounded Rectangle 7"/>
          <p:cNvSpPr/>
          <p:nvPr/>
        </p:nvSpPr>
        <p:spPr>
          <a:xfrm>
            <a:off x="4419600" y="2114550"/>
            <a:ext cx="2286000" cy="2819400"/>
          </a:xfrm>
          <a:prstGeom prst="roundRect">
            <a:avLst/>
          </a:prstGeom>
          <a:noFill/>
          <a:ln w="38100" cmpd="sng">
            <a:solidFill>
              <a:srgbClr val="F0333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537397303"/>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txBox="1">
            <a:spLocks/>
          </p:cNvSpPr>
          <p:nvPr/>
        </p:nvSpPr>
        <p:spPr>
          <a:xfrm>
            <a:off x="297641" y="209550"/>
            <a:ext cx="6560360"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Convolutional Neural Network</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2" name="Slide Number Placeholder 4"/>
          <p:cNvSpPr txBox="1"/>
          <p:nvPr/>
        </p:nvSpPr>
        <p:spPr>
          <a:xfrm>
            <a:off x="6457950" y="4926863"/>
            <a:ext cx="1543050" cy="204670"/>
          </a:xfrm>
          <a:prstGeom prst="rect">
            <a:avLst/>
          </a:prstGeom>
          <a:noFill/>
          <a:ln cap="flat">
            <a:noFill/>
          </a:ln>
        </p:spPr>
        <p:txBody>
          <a:bodyPr vert="horz" wrap="square" lIns="68580" tIns="34290" rIns="68580" bIns="34290" anchor="t" anchorCtr="0" compatLnSpc="1">
            <a:noAutofit/>
          </a:bodyPr>
          <a:lstStyle/>
          <a:p>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307CE93-A309-470E-BBE6-4F104AA92AC1}" type="slidenum">
              <a:rPr kumimoji="0" lang="en-US" sz="675" b="0" i="0" u="none" strike="noStrike" kern="0" cap="none" spc="0" normalizeH="0" baseline="0" noProof="0">
                <a:ln>
                  <a:noFill/>
                </a:ln>
                <a:solidFill>
                  <a:srgbClr val="000000"/>
                </a:solidFill>
                <a:effectLst/>
                <a:uLnTx/>
                <a:uFillTx/>
                <a:latin typeface="Calibri"/>
                <a:ea typeface="+mn-ea"/>
                <a:cs typeface="+mn-cs"/>
              </a:rPr>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1</a:t>
            </a:fld>
            <a:endParaRPr kumimoji="0" lang="en-US" sz="675" b="0" i="0" u="none" strike="noStrike" kern="0" cap="none" spc="0" normalizeH="0" baseline="0" noProof="0">
              <a:ln>
                <a:noFill/>
              </a:ln>
              <a:solidFill>
                <a:srgbClr val="000000"/>
              </a:solidFill>
              <a:effectLst/>
              <a:uLnTx/>
              <a:uFillTx/>
              <a:latin typeface="Calibri"/>
              <a:ea typeface="+mn-ea"/>
              <a:cs typeface="+mn-cs"/>
            </a:endParaRPr>
          </a:p>
        </p:txBody>
      </p:sp>
      <p:sp>
        <p:nvSpPr>
          <p:cNvPr id="4" name="Content Placeholder 3"/>
          <p:cNvSpPr txBox="1">
            <a:spLocks/>
          </p:cNvSpPr>
          <p:nvPr/>
        </p:nvSpPr>
        <p:spPr>
          <a:xfrm>
            <a:off x="450040" y="1200151"/>
            <a:ext cx="7550960" cy="3547110"/>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1" indent="-182563" algn="l" defTabSz="457200" rtl="0" eaLnBrk="1" fontAlgn="auto" latinLnBrk="0" hangingPunct="1">
              <a:lnSpc>
                <a:spcPct val="160000"/>
              </a:lnSpc>
              <a:spcBef>
                <a:spcPts val="0"/>
              </a:spcBef>
              <a:spcAft>
                <a:spcPts val="300"/>
              </a:spcAft>
              <a:buClr>
                <a:srgbClr val="3BB0C9"/>
              </a:buClr>
              <a:buSzTx/>
              <a:buFont typeface="Arial" charset="0"/>
              <a:buChar char="•"/>
              <a:tabLst/>
              <a:defRPr/>
            </a:pPr>
            <a:endParaRPr kumimoji="0" lang="en-US" sz="1200" b="0" i="0" u="none" strike="noStrike" kern="0" cap="none" spc="-20" normalizeH="0" baseline="0" noProof="0" dirty="0">
              <a:ln>
                <a:noFill/>
              </a:ln>
              <a:solidFill>
                <a:prstClr val="black"/>
              </a:solidFill>
              <a:effectLst/>
              <a:uLnTx/>
              <a:uFillTx/>
              <a:latin typeface="Arial"/>
              <a:ea typeface="+mn-ea"/>
              <a:cs typeface="+mn-cs"/>
            </a:endParaRPr>
          </a:p>
        </p:txBody>
      </p:sp>
      <p:sp>
        <p:nvSpPr>
          <p:cNvPr id="5" name="TextBox 4"/>
          <p:cNvSpPr txBox="1"/>
          <p:nvPr/>
        </p:nvSpPr>
        <p:spPr>
          <a:xfrm>
            <a:off x="152400" y="4552950"/>
            <a:ext cx="2590800" cy="369332"/>
          </a:xfrm>
          <a:prstGeom prst="rect">
            <a:avLst/>
          </a:prstGeom>
          <a:noFill/>
        </p:spPr>
        <p:txBody>
          <a:bodyPr wrap="square" lIns="182880" tIns="91440" rIns="182880" bIns="91440" rtlCol="0">
            <a:spAutoFit/>
          </a:bodyPr>
          <a:lstStyle/>
          <a:p>
            <a:pPr algn="l"/>
            <a:r>
              <a:rPr lang="en-US" sz="1200" dirty="0" smtClean="0">
                <a:solidFill>
                  <a:schemeClr val="tx1"/>
                </a:solidFill>
                <a:latin typeface="Arial"/>
                <a:cs typeface="Arial"/>
                <a:hlinkClick r:id="rId3"/>
              </a:rPr>
              <a:t>CNN for sentiment classification </a:t>
            </a:r>
            <a:endParaRPr lang="en-US" sz="1200" dirty="0" smtClean="0">
              <a:solidFill>
                <a:schemeClr val="tx1"/>
              </a:solidFill>
              <a:latin typeface="Arial"/>
              <a:cs typeface="Arial"/>
            </a:endParaRPr>
          </a:p>
        </p:txBody>
      </p:sp>
      <p:pic>
        <p:nvPicPr>
          <p:cNvPr id="3" name="Picture 2" descr="Screen Shot 2017-08-08 at 14.00.37.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4662" y="742950"/>
            <a:ext cx="4322338" cy="3714750"/>
          </a:xfrm>
          <a:prstGeom prst="rect">
            <a:avLst/>
          </a:prstGeom>
        </p:spPr>
      </p:pic>
    </p:spTree>
    <p:extLst>
      <p:ext uri="{BB962C8B-B14F-4D97-AF65-F5344CB8AC3E}">
        <p14:creationId xmlns:p14="http://schemas.microsoft.com/office/powerpoint/2010/main" val="2286455774"/>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61775B-D36D-4628-9EEA-86B3FCEAAE2F}" type="slidenum">
              <a:rPr lang="en-US" smtClean="0">
                <a:solidFill>
                  <a:prstClr val="black">
                    <a:tint val="75000"/>
                  </a:prstClr>
                </a:solidFill>
              </a:rPr>
              <a:pPr/>
              <a:t>12</a:t>
            </a:fld>
            <a:endParaRPr lang="en-US">
              <a:solidFill>
                <a:prstClr val="black">
                  <a:tint val="75000"/>
                </a:prstClr>
              </a:solidFill>
            </a:endParaRPr>
          </a:p>
        </p:txBody>
      </p:sp>
      <p:pic>
        <p:nvPicPr>
          <p:cNvPr id="5" name="Picture 4"/>
          <p:cNvPicPr>
            <a:picLocks noChangeAspect="1"/>
          </p:cNvPicPr>
          <p:nvPr/>
        </p:nvPicPr>
        <p:blipFill>
          <a:blip r:embed="rId2"/>
          <a:stretch>
            <a:fillRect/>
          </a:stretch>
        </p:blipFill>
        <p:spPr>
          <a:xfrm>
            <a:off x="0" y="2071007"/>
            <a:ext cx="9144000" cy="2939143"/>
          </a:xfrm>
          <a:prstGeom prst="rect">
            <a:avLst/>
          </a:prstGeom>
        </p:spPr>
      </p:pic>
      <p:sp>
        <p:nvSpPr>
          <p:cNvPr id="6"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Computational Graph</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8" name="Rounded Rectangle 7"/>
          <p:cNvSpPr/>
          <p:nvPr/>
        </p:nvSpPr>
        <p:spPr>
          <a:xfrm>
            <a:off x="7010400" y="4476750"/>
            <a:ext cx="990600" cy="644914"/>
          </a:xfrm>
          <a:prstGeom prst="roundRect">
            <a:avLst/>
          </a:prstGeom>
          <a:noFill/>
          <a:ln w="38100" cmpd="sng">
            <a:solidFill>
              <a:srgbClr val="F0333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208850281"/>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61775B-D36D-4628-9EEA-86B3FCEAAE2F}" type="slidenum">
              <a:rPr lang="en-US" smtClean="0">
                <a:solidFill>
                  <a:prstClr val="black">
                    <a:tint val="75000"/>
                  </a:prstClr>
                </a:solidFill>
              </a:rPr>
              <a:pPr/>
              <a:t>13</a:t>
            </a:fld>
            <a:endParaRPr lang="en-US">
              <a:solidFill>
                <a:prstClr val="black">
                  <a:tint val="75000"/>
                </a:prstClr>
              </a:solidFill>
            </a:endParaRPr>
          </a:p>
        </p:txBody>
      </p:sp>
      <p:sp>
        <p:nvSpPr>
          <p:cNvPr id="7"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Prior Brand Sentiment</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8" name="TextBox 7"/>
          <p:cNvSpPr txBox="1"/>
          <p:nvPr/>
        </p:nvSpPr>
        <p:spPr>
          <a:xfrm>
            <a:off x="457200" y="1123950"/>
            <a:ext cx="4495800" cy="553998"/>
          </a:xfrm>
          <a:prstGeom prst="rect">
            <a:avLst/>
          </a:prstGeom>
          <a:noFill/>
        </p:spPr>
        <p:txBody>
          <a:bodyPr wrap="square" lIns="182880" tIns="91440" rIns="182880" bIns="91440" rtlCol="0">
            <a:spAutoFit/>
          </a:bodyPr>
          <a:lstStyle/>
          <a:p>
            <a:pPr algn="l"/>
            <a:r>
              <a:rPr lang="en-US" sz="2400" dirty="0" smtClean="0">
                <a:solidFill>
                  <a:schemeClr val="tx1"/>
                </a:solidFill>
                <a:latin typeface="Arial"/>
                <a:cs typeface="Arial"/>
              </a:rPr>
              <a:t>Donald Trump is </a:t>
            </a:r>
            <a:r>
              <a:rPr lang="en-US" sz="2400" dirty="0" err="1" smtClean="0">
                <a:solidFill>
                  <a:schemeClr val="tx1"/>
                </a:solidFill>
                <a:latin typeface="Arial"/>
                <a:cs typeface="Arial"/>
              </a:rPr>
              <a:t>soooo</a:t>
            </a:r>
            <a:r>
              <a:rPr lang="en-US" sz="2400" dirty="0" smtClean="0">
                <a:solidFill>
                  <a:schemeClr val="tx1"/>
                </a:solidFill>
                <a:latin typeface="Arial"/>
                <a:cs typeface="Arial"/>
              </a:rPr>
              <a:t> smart</a:t>
            </a:r>
            <a:endParaRPr lang="en-US" sz="2400" dirty="0" smtClean="0">
              <a:solidFill>
                <a:schemeClr val="tx1"/>
              </a:solidFill>
              <a:latin typeface="Arial"/>
              <a:cs typeface="Arial"/>
            </a:endParaRPr>
          </a:p>
        </p:txBody>
      </p:sp>
      <p:sp>
        <p:nvSpPr>
          <p:cNvPr id="9" name="TextBox 8"/>
          <p:cNvSpPr txBox="1"/>
          <p:nvPr/>
        </p:nvSpPr>
        <p:spPr>
          <a:xfrm>
            <a:off x="457200" y="1560552"/>
            <a:ext cx="4876800" cy="553998"/>
          </a:xfrm>
          <a:prstGeom prst="rect">
            <a:avLst/>
          </a:prstGeom>
          <a:noFill/>
        </p:spPr>
        <p:txBody>
          <a:bodyPr wrap="square" lIns="182880" tIns="91440" rIns="182880" bIns="91440" rtlCol="0">
            <a:spAutoFit/>
          </a:bodyPr>
          <a:lstStyle/>
          <a:p>
            <a:r>
              <a:rPr lang="en-US" sz="2400" dirty="0" smtClean="0">
                <a:cs typeface="Arial"/>
              </a:rPr>
              <a:t>Stephen Hawking is </a:t>
            </a:r>
            <a:r>
              <a:rPr lang="en-US" sz="2400" dirty="0" err="1" smtClean="0">
                <a:solidFill>
                  <a:schemeClr val="tx1"/>
                </a:solidFill>
                <a:latin typeface="Arial"/>
                <a:cs typeface="Arial"/>
              </a:rPr>
              <a:t>soooo</a:t>
            </a:r>
            <a:r>
              <a:rPr lang="en-US" sz="2400" dirty="0" smtClean="0">
                <a:solidFill>
                  <a:schemeClr val="tx1"/>
                </a:solidFill>
                <a:latin typeface="Arial"/>
                <a:cs typeface="Arial"/>
              </a:rPr>
              <a:t> smart</a:t>
            </a:r>
            <a:endParaRPr lang="en-US" sz="2400" dirty="0" smtClean="0">
              <a:solidFill>
                <a:schemeClr val="tx1"/>
              </a:solidFill>
              <a:latin typeface="Arial"/>
              <a:cs typeface="Arial"/>
            </a:endParaRPr>
          </a:p>
        </p:txBody>
      </p:sp>
      <p:grpSp>
        <p:nvGrpSpPr>
          <p:cNvPr id="38" name="Group 37"/>
          <p:cNvGrpSpPr/>
          <p:nvPr/>
        </p:nvGrpSpPr>
        <p:grpSpPr>
          <a:xfrm>
            <a:off x="6781800" y="1504950"/>
            <a:ext cx="2362200" cy="3581400"/>
            <a:chOff x="6781800" y="1504950"/>
            <a:chExt cx="2362200" cy="3581400"/>
          </a:xfrm>
        </p:grpSpPr>
        <p:pic>
          <p:nvPicPr>
            <p:cNvPr id="6" name="Picture 5"/>
            <p:cNvPicPr>
              <a:picLocks noChangeAspect="1"/>
            </p:cNvPicPr>
            <p:nvPr/>
          </p:nvPicPr>
          <p:blipFill>
            <a:blip r:embed="rId3"/>
            <a:stretch>
              <a:fillRect/>
            </a:stretch>
          </p:blipFill>
          <p:spPr>
            <a:xfrm>
              <a:off x="6960721" y="1905000"/>
              <a:ext cx="2183279" cy="3181350"/>
            </a:xfrm>
            <a:prstGeom prst="rect">
              <a:avLst/>
            </a:prstGeom>
          </p:spPr>
        </p:pic>
        <p:sp>
          <p:nvSpPr>
            <p:cNvPr id="10" name="TextBox 9"/>
            <p:cNvSpPr txBox="1"/>
            <p:nvPr/>
          </p:nvSpPr>
          <p:spPr>
            <a:xfrm>
              <a:off x="6781800" y="1504950"/>
              <a:ext cx="2362200" cy="353943"/>
            </a:xfrm>
            <a:prstGeom prst="rect">
              <a:avLst/>
            </a:prstGeom>
            <a:noFill/>
          </p:spPr>
          <p:txBody>
            <a:bodyPr wrap="square" lIns="182880" tIns="91440" rIns="182880" bIns="91440" rtlCol="0">
              <a:spAutoFit/>
            </a:bodyPr>
            <a:lstStyle/>
            <a:p>
              <a:r>
                <a:rPr lang="en-US" sz="1100" dirty="0" err="1"/>
                <a:t>Dirichlet</a:t>
              </a:r>
              <a:r>
                <a:rPr lang="en-US" sz="1100" dirty="0"/>
                <a:t> </a:t>
              </a:r>
              <a:r>
                <a:rPr lang="en-US" sz="1100" dirty="0" smtClean="0"/>
                <a:t>distribution </a:t>
              </a:r>
              <a:r>
                <a:rPr lang="en-US" sz="1100" dirty="0" err="1" smtClean="0"/>
                <a:t>ilustration</a:t>
              </a:r>
              <a:r>
                <a:rPr lang="en-US" sz="1100" dirty="0" smtClean="0"/>
                <a:t> </a:t>
              </a:r>
              <a:endParaRPr lang="en-US" sz="1100" dirty="0" smtClean="0">
                <a:solidFill>
                  <a:schemeClr val="tx1"/>
                </a:solidFill>
                <a:latin typeface="Arial"/>
                <a:cs typeface="Arial"/>
              </a:endParaRPr>
            </a:p>
          </p:txBody>
        </p:sp>
      </p:grpSp>
      <p:grpSp>
        <p:nvGrpSpPr>
          <p:cNvPr id="37" name="Group 36"/>
          <p:cNvGrpSpPr/>
          <p:nvPr/>
        </p:nvGrpSpPr>
        <p:grpSpPr>
          <a:xfrm>
            <a:off x="609600" y="2876550"/>
            <a:ext cx="6096000" cy="1447800"/>
            <a:chOff x="609600" y="2876550"/>
            <a:chExt cx="6096000" cy="1447800"/>
          </a:xfrm>
        </p:grpSpPr>
        <p:sp>
          <p:nvSpPr>
            <p:cNvPr id="11" name="Isosceles Triangle 10"/>
            <p:cNvSpPr/>
            <p:nvPr/>
          </p:nvSpPr>
          <p:spPr>
            <a:xfrm>
              <a:off x="3352800" y="3257550"/>
              <a:ext cx="990600" cy="838200"/>
            </a:xfrm>
            <a:prstGeom prst="triangle">
              <a:avLst/>
            </a:prstGeom>
            <a:no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Box 11"/>
            <p:cNvSpPr txBox="1"/>
            <p:nvPr/>
          </p:nvSpPr>
          <p:spPr>
            <a:xfrm>
              <a:off x="2438400" y="3893463"/>
              <a:ext cx="1066800" cy="430887"/>
            </a:xfrm>
            <a:prstGeom prst="rect">
              <a:avLst/>
            </a:prstGeom>
            <a:noFill/>
          </p:spPr>
          <p:txBody>
            <a:bodyPr wrap="square" lIns="182880" tIns="91440" rIns="182880" bIns="91440" rtlCol="0">
              <a:spAutoFit/>
            </a:bodyPr>
            <a:lstStyle/>
            <a:p>
              <a:pPr algn="ctr"/>
              <a:r>
                <a:rPr lang="en-US" sz="1600" dirty="0" smtClean="0">
                  <a:solidFill>
                    <a:srgbClr val="008000"/>
                  </a:solidFill>
                  <a:latin typeface="Arial"/>
                  <a:cs typeface="Arial"/>
                </a:rPr>
                <a:t>positive</a:t>
              </a:r>
              <a:endParaRPr lang="en-US" sz="1600" dirty="0" smtClean="0">
                <a:solidFill>
                  <a:srgbClr val="008000"/>
                </a:solidFill>
                <a:latin typeface="Arial"/>
                <a:cs typeface="Arial"/>
              </a:endParaRPr>
            </a:p>
          </p:txBody>
        </p:sp>
        <p:sp>
          <p:nvSpPr>
            <p:cNvPr id="13" name="TextBox 12"/>
            <p:cNvSpPr txBox="1"/>
            <p:nvPr/>
          </p:nvSpPr>
          <p:spPr>
            <a:xfrm>
              <a:off x="4191000" y="3893463"/>
              <a:ext cx="1143000" cy="430887"/>
            </a:xfrm>
            <a:prstGeom prst="rect">
              <a:avLst/>
            </a:prstGeom>
            <a:noFill/>
          </p:spPr>
          <p:txBody>
            <a:bodyPr wrap="square" lIns="182880" tIns="91440" rIns="182880" bIns="91440" rtlCol="0">
              <a:spAutoFit/>
            </a:bodyPr>
            <a:lstStyle/>
            <a:p>
              <a:pPr algn="ctr"/>
              <a:r>
                <a:rPr lang="en-US" sz="1600" dirty="0" smtClean="0">
                  <a:solidFill>
                    <a:srgbClr val="F03339"/>
                  </a:solidFill>
                  <a:latin typeface="Arial"/>
                  <a:cs typeface="Arial"/>
                </a:rPr>
                <a:t>negative</a:t>
              </a:r>
              <a:endParaRPr lang="en-US" sz="1600" dirty="0" smtClean="0">
                <a:solidFill>
                  <a:srgbClr val="F03339"/>
                </a:solidFill>
                <a:latin typeface="Arial"/>
                <a:cs typeface="Arial"/>
              </a:endParaRPr>
            </a:p>
          </p:txBody>
        </p:sp>
        <p:sp>
          <p:nvSpPr>
            <p:cNvPr id="14" name="TextBox 13"/>
            <p:cNvSpPr txBox="1"/>
            <p:nvPr/>
          </p:nvSpPr>
          <p:spPr>
            <a:xfrm>
              <a:off x="3352800" y="2902863"/>
              <a:ext cx="990600" cy="430887"/>
            </a:xfrm>
            <a:prstGeom prst="rect">
              <a:avLst/>
            </a:prstGeom>
            <a:noFill/>
          </p:spPr>
          <p:txBody>
            <a:bodyPr wrap="square" lIns="182880" tIns="91440" rIns="182880" bIns="91440" rtlCol="0">
              <a:spAutoFit/>
            </a:bodyPr>
            <a:lstStyle/>
            <a:p>
              <a:pPr algn="ctr"/>
              <a:r>
                <a:rPr lang="en-US" sz="1600" dirty="0" smtClean="0">
                  <a:solidFill>
                    <a:schemeClr val="bg1">
                      <a:lumMod val="50000"/>
                    </a:schemeClr>
                  </a:solidFill>
                  <a:latin typeface="Arial"/>
                  <a:cs typeface="Arial"/>
                </a:rPr>
                <a:t>neutral</a:t>
              </a:r>
              <a:endParaRPr lang="en-US" sz="1600" dirty="0" smtClean="0">
                <a:solidFill>
                  <a:schemeClr val="bg1">
                    <a:lumMod val="50000"/>
                  </a:schemeClr>
                </a:solidFill>
                <a:latin typeface="Arial"/>
                <a:cs typeface="Arial"/>
              </a:endParaRPr>
            </a:p>
          </p:txBody>
        </p:sp>
        <p:cxnSp>
          <p:nvCxnSpPr>
            <p:cNvPr id="16" name="Straight Arrow Connector 15"/>
            <p:cNvCxnSpPr/>
            <p:nvPr/>
          </p:nvCxnSpPr>
          <p:spPr>
            <a:xfrm>
              <a:off x="2895600" y="3105150"/>
              <a:ext cx="914400" cy="533400"/>
            </a:xfrm>
            <a:prstGeom prst="straightConnector1">
              <a:avLst/>
            </a:prstGeom>
            <a:ln>
              <a:solidFill>
                <a:srgbClr val="0D0D0D"/>
              </a:solidFill>
              <a:tailEnd type="arrow"/>
            </a:ln>
          </p:spPr>
          <p:style>
            <a:lnRef idx="2">
              <a:schemeClr val="accent1"/>
            </a:lnRef>
            <a:fillRef idx="0">
              <a:schemeClr val="accent1"/>
            </a:fillRef>
            <a:effectRef idx="1">
              <a:schemeClr val="accent1"/>
            </a:effectRef>
            <a:fontRef idx="minor">
              <a:schemeClr val="tx1"/>
            </a:fontRef>
          </p:style>
        </p:cxnSp>
        <p:sp>
          <p:nvSpPr>
            <p:cNvPr id="17" name="Oval 16"/>
            <p:cNvSpPr/>
            <p:nvPr/>
          </p:nvSpPr>
          <p:spPr>
            <a:xfrm>
              <a:off x="3810000" y="3638550"/>
              <a:ext cx="76200" cy="762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TextBox 17"/>
            <p:cNvSpPr txBox="1"/>
            <p:nvPr/>
          </p:nvSpPr>
          <p:spPr>
            <a:xfrm>
              <a:off x="609600" y="2876550"/>
              <a:ext cx="2438400" cy="400110"/>
            </a:xfrm>
            <a:prstGeom prst="rect">
              <a:avLst/>
            </a:prstGeom>
            <a:noFill/>
          </p:spPr>
          <p:txBody>
            <a:bodyPr wrap="square" lIns="182880" tIns="91440" rIns="182880" bIns="91440" rtlCol="0">
              <a:spAutoFit/>
            </a:bodyPr>
            <a:lstStyle/>
            <a:p>
              <a:r>
                <a:rPr lang="en-US" sz="1400" dirty="0" smtClean="0">
                  <a:cs typeface="Arial"/>
                </a:rPr>
                <a:t>Average twitter </a:t>
              </a:r>
              <a:r>
                <a:rPr lang="en-US" sz="1400" dirty="0">
                  <a:cs typeface="Arial"/>
                </a:rPr>
                <a:t>sentiment</a:t>
              </a:r>
              <a:endParaRPr lang="en-US" sz="1400" dirty="0" smtClean="0">
                <a:solidFill>
                  <a:schemeClr val="tx1"/>
                </a:solidFill>
                <a:latin typeface="Arial"/>
                <a:cs typeface="Arial"/>
              </a:endParaRPr>
            </a:p>
          </p:txBody>
        </p:sp>
        <p:sp>
          <p:nvSpPr>
            <p:cNvPr id="19" name="TextBox 18"/>
            <p:cNvSpPr txBox="1"/>
            <p:nvPr/>
          </p:nvSpPr>
          <p:spPr>
            <a:xfrm>
              <a:off x="609600" y="3409950"/>
              <a:ext cx="2590800" cy="400110"/>
            </a:xfrm>
            <a:prstGeom prst="rect">
              <a:avLst/>
            </a:prstGeom>
            <a:noFill/>
          </p:spPr>
          <p:txBody>
            <a:bodyPr wrap="square" lIns="182880" tIns="91440" rIns="182880" bIns="91440" rtlCol="0">
              <a:spAutoFit/>
            </a:bodyPr>
            <a:lstStyle/>
            <a:p>
              <a:r>
                <a:rPr lang="en-US" sz="1400" dirty="0" smtClean="0">
                  <a:cs typeface="Arial"/>
                </a:rPr>
                <a:t>Average Hawking sentiment</a:t>
              </a:r>
              <a:endParaRPr lang="en-US" sz="1400" dirty="0" smtClean="0">
                <a:solidFill>
                  <a:schemeClr val="tx1"/>
                </a:solidFill>
                <a:latin typeface="Arial"/>
                <a:cs typeface="Arial"/>
              </a:endParaRPr>
            </a:p>
          </p:txBody>
        </p:sp>
        <p:cxnSp>
          <p:nvCxnSpPr>
            <p:cNvPr id="20" name="Straight Arrow Connector 19"/>
            <p:cNvCxnSpPr/>
            <p:nvPr/>
          </p:nvCxnSpPr>
          <p:spPr>
            <a:xfrm flipH="1">
              <a:off x="4114800" y="3638550"/>
              <a:ext cx="304800" cy="304800"/>
            </a:xfrm>
            <a:prstGeom prst="straightConnector1">
              <a:avLst/>
            </a:prstGeom>
            <a:ln>
              <a:solidFill>
                <a:srgbClr val="0D0D0D"/>
              </a:solidFill>
              <a:tailEnd type="arrow"/>
            </a:ln>
          </p:spPr>
          <p:style>
            <a:lnRef idx="2">
              <a:schemeClr val="accent1"/>
            </a:lnRef>
            <a:fillRef idx="0">
              <a:schemeClr val="accent1"/>
            </a:fillRef>
            <a:effectRef idx="1">
              <a:schemeClr val="accent1"/>
            </a:effectRef>
            <a:fontRef idx="minor">
              <a:schemeClr val="tx1"/>
            </a:fontRef>
          </p:style>
        </p:cxnSp>
        <p:sp>
          <p:nvSpPr>
            <p:cNvPr id="23" name="Oval 22"/>
            <p:cNvSpPr/>
            <p:nvPr/>
          </p:nvSpPr>
          <p:spPr>
            <a:xfrm>
              <a:off x="3657600" y="3867150"/>
              <a:ext cx="76200" cy="762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TextBox 26"/>
            <p:cNvSpPr txBox="1"/>
            <p:nvPr/>
          </p:nvSpPr>
          <p:spPr>
            <a:xfrm>
              <a:off x="4267200" y="3409950"/>
              <a:ext cx="2438400" cy="400110"/>
            </a:xfrm>
            <a:prstGeom prst="rect">
              <a:avLst/>
            </a:prstGeom>
            <a:noFill/>
          </p:spPr>
          <p:txBody>
            <a:bodyPr wrap="square" lIns="182880" tIns="91440" rIns="182880" bIns="91440" rtlCol="0">
              <a:spAutoFit/>
            </a:bodyPr>
            <a:lstStyle/>
            <a:p>
              <a:r>
                <a:rPr lang="en-US" sz="1400" dirty="0" smtClean="0">
                  <a:cs typeface="Arial"/>
                </a:rPr>
                <a:t>Average Trump sentiment</a:t>
              </a:r>
              <a:endParaRPr lang="en-US" sz="1400" dirty="0" smtClean="0">
                <a:solidFill>
                  <a:schemeClr val="tx1"/>
                </a:solidFill>
                <a:latin typeface="Arial"/>
                <a:cs typeface="Arial"/>
              </a:endParaRPr>
            </a:p>
          </p:txBody>
        </p:sp>
        <p:cxnSp>
          <p:nvCxnSpPr>
            <p:cNvPr id="33" name="Straight Arrow Connector 32"/>
            <p:cNvCxnSpPr>
              <a:endCxn id="23" idx="2"/>
            </p:cNvCxnSpPr>
            <p:nvPr/>
          </p:nvCxnSpPr>
          <p:spPr>
            <a:xfrm>
              <a:off x="3124200" y="3638550"/>
              <a:ext cx="533400" cy="266700"/>
            </a:xfrm>
            <a:prstGeom prst="straightConnector1">
              <a:avLst/>
            </a:prstGeom>
            <a:ln>
              <a:solidFill>
                <a:srgbClr val="0D0D0D"/>
              </a:solidFill>
              <a:tailEnd type="arrow"/>
            </a:ln>
          </p:spPr>
          <p:style>
            <a:lnRef idx="2">
              <a:schemeClr val="accent1"/>
            </a:lnRef>
            <a:fillRef idx="0">
              <a:schemeClr val="accent1"/>
            </a:fillRef>
            <a:effectRef idx="1">
              <a:schemeClr val="accent1"/>
            </a:effectRef>
            <a:fontRef idx="minor">
              <a:schemeClr val="tx1"/>
            </a:fontRef>
          </p:style>
        </p:cxnSp>
        <p:sp>
          <p:nvSpPr>
            <p:cNvPr id="36" name="Oval 35"/>
            <p:cNvSpPr/>
            <p:nvPr/>
          </p:nvSpPr>
          <p:spPr>
            <a:xfrm>
              <a:off x="4038600" y="3943350"/>
              <a:ext cx="76200" cy="762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421576760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61775B-D36D-4628-9EEA-86B3FCEAAE2F}" type="slidenum">
              <a:rPr lang="en-US" smtClean="0">
                <a:solidFill>
                  <a:prstClr val="black">
                    <a:tint val="75000"/>
                  </a:prstClr>
                </a:solidFill>
              </a:rPr>
              <a:pPr/>
              <a:t>14</a:t>
            </a:fld>
            <a:endParaRPr lang="en-US">
              <a:solidFill>
                <a:prstClr val="black">
                  <a:tint val="75000"/>
                </a:prstClr>
              </a:solidFill>
            </a:endParaRPr>
          </a:p>
        </p:txBody>
      </p:sp>
      <p:pic>
        <p:nvPicPr>
          <p:cNvPr id="5" name="Picture 4"/>
          <p:cNvPicPr>
            <a:picLocks noChangeAspect="1"/>
          </p:cNvPicPr>
          <p:nvPr/>
        </p:nvPicPr>
        <p:blipFill>
          <a:blip r:embed="rId2"/>
          <a:stretch>
            <a:fillRect/>
          </a:stretch>
        </p:blipFill>
        <p:spPr>
          <a:xfrm>
            <a:off x="0" y="2071007"/>
            <a:ext cx="9144000" cy="2939143"/>
          </a:xfrm>
          <a:prstGeom prst="rect">
            <a:avLst/>
          </a:prstGeom>
        </p:spPr>
      </p:pic>
      <p:sp>
        <p:nvSpPr>
          <p:cNvPr id="6"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Computational Graph</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8" name="Rounded Rectangle 7"/>
          <p:cNvSpPr/>
          <p:nvPr/>
        </p:nvSpPr>
        <p:spPr>
          <a:xfrm>
            <a:off x="8381999" y="2114550"/>
            <a:ext cx="754543" cy="2778514"/>
          </a:xfrm>
          <a:prstGeom prst="roundRect">
            <a:avLst/>
          </a:prstGeom>
          <a:noFill/>
          <a:ln w="38100" cmpd="sng">
            <a:solidFill>
              <a:srgbClr val="F0333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964048646"/>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txBox="1">
            <a:spLocks/>
          </p:cNvSpPr>
          <p:nvPr/>
        </p:nvSpPr>
        <p:spPr>
          <a:xfrm>
            <a:off x="297640" y="209550"/>
            <a:ext cx="78557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Future Plans</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2" name="Slide Number Placeholder 4"/>
          <p:cNvSpPr txBox="1"/>
          <p:nvPr/>
        </p:nvSpPr>
        <p:spPr>
          <a:xfrm>
            <a:off x="6457950" y="4926863"/>
            <a:ext cx="1543050" cy="204670"/>
          </a:xfrm>
          <a:prstGeom prst="rect">
            <a:avLst/>
          </a:prstGeom>
          <a:noFill/>
          <a:ln cap="flat">
            <a:noFill/>
          </a:ln>
        </p:spPr>
        <p:txBody>
          <a:bodyPr vert="horz" wrap="square" lIns="68580" tIns="34290" rIns="68580" bIns="34290" anchor="t" anchorCtr="0" compatLnSpc="1">
            <a:noAutofit/>
          </a:bodyPr>
          <a:lstStyle/>
          <a:p>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307CE93-A309-470E-BBE6-4F104AA92AC1}" type="slidenum">
              <a:rPr kumimoji="0" lang="en-US" sz="675" b="0" i="0" u="none" strike="noStrike" kern="0" cap="none" spc="0" normalizeH="0" baseline="0" noProof="0">
                <a:ln>
                  <a:noFill/>
                </a:ln>
                <a:solidFill>
                  <a:srgbClr val="000000"/>
                </a:solidFill>
                <a:effectLst/>
                <a:uLnTx/>
                <a:uFillTx/>
                <a:latin typeface="Calibri"/>
                <a:ea typeface="+mn-ea"/>
                <a:cs typeface="+mn-cs"/>
              </a:rPr>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5</a:t>
            </a:fld>
            <a:endParaRPr kumimoji="0" lang="en-US" sz="675" b="0" i="0" u="none" strike="noStrike" kern="0" cap="none" spc="0" normalizeH="0" baseline="0" noProof="0">
              <a:ln>
                <a:noFill/>
              </a:ln>
              <a:solidFill>
                <a:srgbClr val="000000"/>
              </a:solidFill>
              <a:effectLst/>
              <a:uLnTx/>
              <a:uFillTx/>
              <a:latin typeface="Calibri"/>
              <a:ea typeface="+mn-ea"/>
              <a:cs typeface="+mn-cs"/>
            </a:endParaRPr>
          </a:p>
        </p:txBody>
      </p:sp>
      <p:sp>
        <p:nvSpPr>
          <p:cNvPr id="4" name="Content Placeholder 3"/>
          <p:cNvSpPr txBox="1">
            <a:spLocks/>
          </p:cNvSpPr>
          <p:nvPr/>
        </p:nvSpPr>
        <p:spPr>
          <a:xfrm>
            <a:off x="450040" y="1200151"/>
            <a:ext cx="7550960" cy="3547110"/>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1" indent="-182563" algn="l" defTabSz="457200" rtl="0" eaLnBrk="1" fontAlgn="auto" latinLnBrk="0" hangingPunct="1">
              <a:lnSpc>
                <a:spcPct val="160000"/>
              </a:lnSpc>
              <a:spcBef>
                <a:spcPts val="0"/>
              </a:spcBef>
              <a:spcAft>
                <a:spcPts val="300"/>
              </a:spcAft>
              <a:buClr>
                <a:srgbClr val="3BB0C9"/>
              </a:buClr>
              <a:buSzTx/>
              <a:buFont typeface="Arial" charset="0"/>
              <a:buChar char="•"/>
              <a:tabLst/>
              <a:defRPr/>
            </a:pPr>
            <a:endParaRPr kumimoji="0" lang="en-US" sz="1200" b="0" i="0" u="none" strike="noStrike" kern="0" cap="none" spc="-20" normalizeH="0" baseline="0" noProof="0" dirty="0">
              <a:ln>
                <a:noFill/>
              </a:ln>
              <a:solidFill>
                <a:prstClr val="black"/>
              </a:solidFill>
              <a:effectLst/>
              <a:uLnTx/>
              <a:uFillTx/>
              <a:latin typeface="Arial"/>
              <a:ea typeface="+mn-ea"/>
              <a:cs typeface="+mn-cs"/>
            </a:endParaRPr>
          </a:p>
        </p:txBody>
      </p:sp>
      <p:sp>
        <p:nvSpPr>
          <p:cNvPr id="5" name="Content Placeholder 3"/>
          <p:cNvSpPr txBox="1">
            <a:spLocks/>
          </p:cNvSpPr>
          <p:nvPr/>
        </p:nvSpPr>
        <p:spPr>
          <a:xfrm>
            <a:off x="602440" y="1047750"/>
            <a:ext cx="7550960" cy="3851911"/>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lvl="1">
              <a:lnSpc>
                <a:spcPct val="160000"/>
              </a:lnSpc>
              <a:buClr>
                <a:srgbClr val="3BB0C9"/>
              </a:buClr>
              <a:buFont typeface="Wingdings" panose="05000000000000000000" pitchFamily="2" charset="2"/>
              <a:buChar char="ü"/>
              <a:defRPr/>
            </a:pPr>
            <a:r>
              <a:rPr lang="en-US" sz="1800" kern="0" spc="-20" dirty="0" smtClean="0">
                <a:solidFill>
                  <a:prstClr val="black"/>
                </a:solidFill>
                <a:latin typeface="Calibri" panose="020F0502020204030204" pitchFamily="34" charset="0"/>
              </a:rPr>
              <a:t>Replace GRU layer with </a:t>
            </a:r>
            <a:r>
              <a:rPr lang="en-US" sz="1800" kern="0" spc="-20" dirty="0" smtClean="0">
                <a:solidFill>
                  <a:prstClr val="black"/>
                </a:solidFill>
                <a:latin typeface="Calibri" panose="020F0502020204030204" pitchFamily="34" charset="0"/>
                <a:hlinkClick r:id="rId3"/>
              </a:rPr>
              <a:t>Transformer Encoder</a:t>
            </a:r>
            <a:endParaRPr lang="en-US" sz="1800" kern="0" spc="-20" dirty="0" smtClean="0">
              <a:solidFill>
                <a:prstClr val="black"/>
              </a:solidFill>
              <a:latin typeface="Calibri" panose="020F0502020204030204" pitchFamily="34" charset="0"/>
            </a:endParaRPr>
          </a:p>
          <a:p>
            <a:pPr marL="285750" lvl="1">
              <a:lnSpc>
                <a:spcPct val="160000"/>
              </a:lnSpc>
              <a:buClr>
                <a:srgbClr val="3BB0C9"/>
              </a:buClr>
              <a:buFont typeface="Wingdings" panose="05000000000000000000" pitchFamily="2" charset="2"/>
              <a:buChar char="ü"/>
              <a:defRPr/>
            </a:pPr>
            <a:r>
              <a:rPr lang="en-US" sz="1800" kern="0" spc="-20" dirty="0" smtClean="0">
                <a:solidFill>
                  <a:prstClr val="black"/>
                </a:solidFill>
                <a:latin typeface="Calibri" panose="020F0502020204030204" pitchFamily="34" charset="0"/>
              </a:rPr>
              <a:t>Ensemble with a language model</a:t>
            </a:r>
          </a:p>
          <a:p>
            <a:pPr marL="285750" lvl="1">
              <a:lnSpc>
                <a:spcPct val="160000"/>
              </a:lnSpc>
              <a:buClr>
                <a:srgbClr val="3BB0C9"/>
              </a:buClr>
              <a:buFont typeface="Wingdings" panose="05000000000000000000" pitchFamily="2" charset="2"/>
              <a:buChar char="ü"/>
              <a:defRPr/>
            </a:pPr>
            <a:r>
              <a:rPr lang="en-US" sz="1800" kern="0" spc="-20" dirty="0" smtClean="0">
                <a:solidFill>
                  <a:prstClr val="black"/>
                </a:solidFill>
                <a:latin typeface="Calibri" panose="020F0502020204030204" pitchFamily="34" charset="0"/>
              </a:rPr>
              <a:t>Replace Brand Sentiment layer with a </a:t>
            </a:r>
            <a:r>
              <a:rPr lang="en-US" sz="1800" kern="0" spc="-20" smtClean="0">
                <a:solidFill>
                  <a:prstClr val="black"/>
                </a:solidFill>
                <a:latin typeface="Calibri" panose="020F0502020204030204" pitchFamily="34" charset="0"/>
              </a:rPr>
              <a:t>full feature </a:t>
            </a:r>
            <a:r>
              <a:rPr lang="en-US" sz="1800" kern="0" spc="-20" dirty="0" smtClean="0">
                <a:solidFill>
                  <a:prstClr val="black"/>
                </a:solidFill>
                <a:latin typeface="Calibri" panose="020F0502020204030204" pitchFamily="34" charset="0"/>
              </a:rPr>
              <a:t>layer</a:t>
            </a:r>
          </a:p>
          <a:p>
            <a:pPr marL="285750" lvl="1">
              <a:lnSpc>
                <a:spcPct val="160000"/>
              </a:lnSpc>
              <a:buClr>
                <a:srgbClr val="3BB0C9"/>
              </a:buClr>
              <a:buFont typeface="Wingdings" panose="05000000000000000000" pitchFamily="2" charset="2"/>
              <a:buChar char="ü"/>
              <a:defRPr/>
            </a:pPr>
            <a:endParaRPr lang="en-US" sz="1800" kern="0" spc="-20" dirty="0" smtClean="0">
              <a:solidFill>
                <a:prstClr val="black"/>
              </a:solidFill>
              <a:latin typeface="Calibri" panose="020F0502020204030204" pitchFamily="34" charset="0"/>
            </a:endParaRPr>
          </a:p>
          <a:p>
            <a:pPr marL="285750" lvl="1">
              <a:lnSpc>
                <a:spcPct val="160000"/>
              </a:lnSpc>
              <a:buClr>
                <a:srgbClr val="3BB0C9"/>
              </a:buClr>
              <a:buFont typeface="Wingdings" panose="05000000000000000000" pitchFamily="2" charset="2"/>
              <a:buChar char="ü"/>
              <a:defRPr/>
            </a:pPr>
            <a:endParaRPr kumimoji="0" lang="en-US" sz="1800" b="0" i="0" u="none" strike="noStrike" kern="0" cap="none" spc="-20" normalizeH="0" noProof="0" dirty="0" smtClean="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7955919"/>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7620000" cy="460771"/>
          </a:xfrm>
        </p:spPr>
        <p:txBody>
          <a:bodyPr/>
          <a:lstStyle/>
          <a:p>
            <a:r>
              <a:rPr lang="en-US" dirty="0" err="1" smtClean="0"/>
              <a:t>SemEval</a:t>
            </a:r>
            <a:r>
              <a:rPr lang="en-US" dirty="0" smtClean="0"/>
              <a:t> </a:t>
            </a:r>
            <a:r>
              <a:rPr lang="en-US" dirty="0" smtClean="0"/>
              <a:t>2018</a:t>
            </a:r>
            <a:endParaRPr lang="en-US" dirty="0"/>
          </a:p>
        </p:txBody>
      </p:sp>
      <p:sp>
        <p:nvSpPr>
          <p:cNvPr id="4" name="Slide Number Placeholder 3"/>
          <p:cNvSpPr>
            <a:spLocks noGrp="1"/>
          </p:cNvSpPr>
          <p:nvPr>
            <p:ph type="sldNum" sz="quarter" idx="12"/>
          </p:nvPr>
        </p:nvSpPr>
        <p:spPr/>
        <p:txBody>
          <a:bodyPr/>
          <a:lstStyle/>
          <a:p>
            <a:fld id="{7F5CE407-6216-4202-80E4-A30DC2F709B2}" type="slidenum">
              <a:rPr lang="en-US" smtClean="0"/>
              <a:t>2</a:t>
            </a:fld>
            <a:endParaRPr lang="en-US"/>
          </a:p>
        </p:txBody>
      </p:sp>
      <p:pic>
        <p:nvPicPr>
          <p:cNvPr id="7" name="Picture 6"/>
          <p:cNvPicPr>
            <a:picLocks noChangeAspect="1"/>
          </p:cNvPicPr>
          <p:nvPr/>
        </p:nvPicPr>
        <p:blipFill>
          <a:blip r:embed="rId2"/>
          <a:stretch>
            <a:fillRect/>
          </a:stretch>
        </p:blipFill>
        <p:spPr>
          <a:xfrm>
            <a:off x="457200" y="819150"/>
            <a:ext cx="3461291" cy="3938502"/>
          </a:xfrm>
          <a:prstGeom prst="rect">
            <a:avLst/>
          </a:prstGeom>
        </p:spPr>
      </p:pic>
      <p:sp>
        <p:nvSpPr>
          <p:cNvPr id="10" name="TextBox 9"/>
          <p:cNvSpPr txBox="1"/>
          <p:nvPr/>
        </p:nvSpPr>
        <p:spPr>
          <a:xfrm>
            <a:off x="6934200" y="4552950"/>
            <a:ext cx="1676400" cy="430887"/>
          </a:xfrm>
          <a:prstGeom prst="rect">
            <a:avLst/>
          </a:prstGeom>
          <a:noFill/>
        </p:spPr>
        <p:txBody>
          <a:bodyPr wrap="square" lIns="182880" tIns="91440" rIns="182880" bIns="91440" rtlCol="0">
            <a:spAutoFit/>
          </a:bodyPr>
          <a:lstStyle/>
          <a:p>
            <a:r>
              <a:rPr lang="en-US" sz="1600" dirty="0">
                <a:cs typeface="Arial"/>
                <a:hlinkClick r:id="rId3"/>
              </a:rPr>
              <a:t>AR &amp; DF 2018</a:t>
            </a:r>
            <a:endParaRPr lang="en-US" sz="1600" dirty="0" smtClean="0">
              <a:solidFill>
                <a:schemeClr val="tx1"/>
              </a:solidFill>
              <a:latin typeface="Arial"/>
              <a:cs typeface="Arial"/>
            </a:endParaRPr>
          </a:p>
        </p:txBody>
      </p:sp>
    </p:spTree>
    <p:extLst>
      <p:ext uri="{BB962C8B-B14F-4D97-AF65-F5344CB8AC3E}">
        <p14:creationId xmlns:p14="http://schemas.microsoft.com/office/powerpoint/2010/main" val="2819824913"/>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txBox="1">
            <a:spLocks/>
          </p:cNvSpPr>
          <p:nvPr/>
        </p:nvSpPr>
        <p:spPr>
          <a:xfrm>
            <a:off x="297640" y="209550"/>
            <a:ext cx="8541559" cy="511135"/>
          </a:xfrm>
          <a:prstGeom prst="rect">
            <a:avLst/>
          </a:prstGeom>
        </p:spPr>
        <p:txBody>
          <a:bodyPr anchor="b"/>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a:ln>
                  <a:noFill/>
                </a:ln>
                <a:solidFill>
                  <a:prstClr val="black"/>
                </a:solidFill>
                <a:effectLst/>
                <a:uLnTx/>
                <a:uFillTx/>
                <a:latin typeface="Arial"/>
                <a:ea typeface="+mj-ea"/>
                <a:cs typeface="+mj-cs"/>
              </a:rPr>
              <a:t>Content </a:t>
            </a:r>
            <a:r>
              <a:rPr kumimoji="0" lang="en-US" sz="3200" b="1" i="0" u="none" strike="noStrike" kern="1200" cap="none" spc="-50" normalizeH="0" baseline="0" noProof="0" dirty="0" smtClean="0">
                <a:ln>
                  <a:noFill/>
                </a:ln>
                <a:solidFill>
                  <a:prstClr val="black"/>
                </a:solidFill>
                <a:effectLst/>
                <a:uLnTx/>
                <a:uFillTx/>
                <a:latin typeface="Arial"/>
                <a:ea typeface="+mj-ea"/>
                <a:cs typeface="+mj-cs"/>
              </a:rPr>
              <a:t>Sentiment Analysis</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2" name="Slide Number Placeholder 4"/>
          <p:cNvSpPr txBox="1"/>
          <p:nvPr/>
        </p:nvSpPr>
        <p:spPr>
          <a:xfrm>
            <a:off x="6457950" y="4926863"/>
            <a:ext cx="1543050" cy="204670"/>
          </a:xfrm>
          <a:prstGeom prst="rect">
            <a:avLst/>
          </a:prstGeom>
          <a:noFill/>
          <a:ln cap="flat">
            <a:noFill/>
          </a:ln>
        </p:spPr>
        <p:txBody>
          <a:bodyPr vert="horz" wrap="square" lIns="68580" tIns="34290" rIns="68580" bIns="34290" anchor="t" anchorCtr="0" compatLnSpc="1">
            <a:noAutofit/>
          </a:bodyPr>
          <a:lstStyle/>
          <a:p>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307CE93-A309-470E-BBE6-4F104AA92AC1}" type="slidenum">
              <a:rPr kumimoji="0" lang="en-US" sz="675" b="0" i="0" u="none" strike="noStrike" kern="0" cap="none" spc="0" normalizeH="0" baseline="0" noProof="0">
                <a:ln>
                  <a:noFill/>
                </a:ln>
                <a:solidFill>
                  <a:srgbClr val="000000"/>
                </a:solidFill>
                <a:effectLst/>
                <a:uLnTx/>
                <a:uFillTx/>
                <a:latin typeface="Calibri"/>
                <a:ea typeface="+mn-ea"/>
                <a:cs typeface="+mn-cs"/>
              </a:rPr>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3</a:t>
            </a:fld>
            <a:endParaRPr kumimoji="0" lang="en-US" sz="675" b="0" i="0" u="none" strike="noStrike" kern="0" cap="none" spc="0" normalizeH="0" baseline="0" noProof="0">
              <a:ln>
                <a:noFill/>
              </a:ln>
              <a:solidFill>
                <a:srgbClr val="000000"/>
              </a:solidFill>
              <a:effectLst/>
              <a:uLnTx/>
              <a:uFillTx/>
              <a:latin typeface="Calibri"/>
              <a:ea typeface="+mn-ea"/>
              <a:cs typeface="+mn-cs"/>
            </a:endParaRPr>
          </a:p>
        </p:txBody>
      </p:sp>
      <p:sp>
        <p:nvSpPr>
          <p:cNvPr id="4" name="Content Placeholder 3"/>
          <p:cNvSpPr txBox="1">
            <a:spLocks/>
          </p:cNvSpPr>
          <p:nvPr/>
        </p:nvSpPr>
        <p:spPr>
          <a:xfrm>
            <a:off x="450040" y="1200151"/>
            <a:ext cx="7550960" cy="3547110"/>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1" indent="-182563" algn="l" defTabSz="457200" rtl="0" eaLnBrk="1" fontAlgn="auto" latinLnBrk="0" hangingPunct="1">
              <a:lnSpc>
                <a:spcPct val="160000"/>
              </a:lnSpc>
              <a:spcBef>
                <a:spcPts val="0"/>
              </a:spcBef>
              <a:spcAft>
                <a:spcPts val="300"/>
              </a:spcAft>
              <a:buClr>
                <a:srgbClr val="3BB0C9"/>
              </a:buClr>
              <a:buSzTx/>
              <a:buFont typeface="Arial" charset="0"/>
              <a:buChar char="•"/>
              <a:tabLst/>
              <a:defRPr/>
            </a:pPr>
            <a:endParaRPr kumimoji="0" lang="en-US" sz="1200" b="0" i="0" u="none" strike="noStrike" kern="0" cap="none" spc="-20" normalizeH="0" baseline="0" noProof="0" dirty="0">
              <a:ln>
                <a:noFill/>
              </a:ln>
              <a:solidFill>
                <a:prstClr val="black"/>
              </a:solidFill>
              <a:effectLst/>
              <a:uLnTx/>
              <a:uFillTx/>
              <a:latin typeface="Arial"/>
              <a:ea typeface="+mn-ea"/>
              <a:cs typeface="+mn-cs"/>
            </a:endParaRPr>
          </a:p>
        </p:txBody>
      </p:sp>
      <p:sp>
        <p:nvSpPr>
          <p:cNvPr id="5" name="Content Placeholder 3"/>
          <p:cNvSpPr txBox="1">
            <a:spLocks/>
          </p:cNvSpPr>
          <p:nvPr/>
        </p:nvSpPr>
        <p:spPr>
          <a:xfrm>
            <a:off x="602440" y="1047750"/>
            <a:ext cx="7550960" cy="3851911"/>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1" indent="-28575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endParaRPr kumimoji="0" lang="en-US" sz="1800" b="0" i="0" u="none" strike="noStrike" kern="0" cap="none" spc="-20" normalizeH="0" baseline="0" noProof="0" dirty="0" smtClean="0">
              <a:ln>
                <a:noFill/>
              </a:ln>
              <a:solidFill>
                <a:prstClr val="black"/>
              </a:solidFill>
              <a:effectLst/>
              <a:uLnTx/>
              <a:uFillTx/>
              <a:latin typeface="Calibri" panose="020F0502020204030204" pitchFamily="34" charset="0"/>
              <a:ea typeface="+mn-ea"/>
              <a:cs typeface="+mn-cs"/>
            </a:endParaRPr>
          </a:p>
          <a:p>
            <a:pPr marL="285750" marR="0" lvl="1" indent="-28575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endParaRPr lang="en-US" sz="1800" kern="0" spc="-20" dirty="0">
              <a:solidFill>
                <a:prstClr val="black"/>
              </a:solidFill>
              <a:latin typeface="Calibri" panose="020F0502020204030204" pitchFamily="34" charset="0"/>
            </a:endParaRPr>
          </a:p>
          <a:p>
            <a:pPr marL="285750" marR="0" lvl="1" indent="-28575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r>
              <a:rPr kumimoji="0" lang="en-US" sz="1800" b="0" i="0" u="none" strike="noStrike" kern="0" cap="none" spc="-20" normalizeH="0" baseline="0" noProof="0" dirty="0" smtClean="0">
                <a:ln>
                  <a:noFill/>
                </a:ln>
                <a:solidFill>
                  <a:prstClr val="black"/>
                </a:solidFill>
                <a:effectLst/>
                <a:uLnTx/>
                <a:uFillTx/>
                <a:latin typeface="Calibri" panose="020F0502020204030204" pitchFamily="34" charset="0"/>
                <a:ea typeface="+mn-ea"/>
                <a:cs typeface="+mn-cs"/>
              </a:rPr>
              <a:t>Sentence </a:t>
            </a:r>
            <a:r>
              <a:rPr kumimoji="0" lang="en-US" sz="1800" b="0" i="0" u="none" strike="noStrike" kern="0" cap="none" spc="-20" normalizeH="0" baseline="0" noProof="0" dirty="0">
                <a:ln>
                  <a:noFill/>
                </a:ln>
                <a:solidFill>
                  <a:prstClr val="black"/>
                </a:solidFill>
                <a:effectLst/>
                <a:uLnTx/>
                <a:uFillTx/>
                <a:latin typeface="Calibri" panose="020F0502020204030204" pitchFamily="34" charset="0"/>
                <a:ea typeface="+mn-ea"/>
                <a:cs typeface="+mn-cs"/>
              </a:rPr>
              <a:t>features:</a:t>
            </a:r>
          </a:p>
          <a:p>
            <a:pPr marL="395478" marR="0" lvl="2" indent="-22860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r>
              <a:rPr kumimoji="0" lang="en-US" sz="1400" b="0" i="0" u="none" strike="noStrike" kern="0" cap="none" spc="-20" normalizeH="0" baseline="0" noProof="0" dirty="0">
                <a:ln>
                  <a:noFill/>
                </a:ln>
                <a:solidFill>
                  <a:prstClr val="black"/>
                </a:solidFill>
                <a:effectLst/>
                <a:uLnTx/>
                <a:uFillTx/>
                <a:latin typeface="Calibri" panose="020F0502020204030204" pitchFamily="34" charset="0"/>
                <a:ea typeface="+mn-ea"/>
                <a:cs typeface="+mn-cs"/>
              </a:rPr>
              <a:t>High level negation</a:t>
            </a:r>
          </a:p>
          <a:p>
            <a:pPr marL="395478" marR="0" lvl="2" indent="-22860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r>
              <a:rPr kumimoji="0" lang="en-US" sz="1400" b="0" i="0" u="none" strike="noStrike" kern="0" cap="none" spc="-20" normalizeH="0" baseline="0" noProof="0" dirty="0">
                <a:ln>
                  <a:noFill/>
                </a:ln>
                <a:solidFill>
                  <a:prstClr val="black"/>
                </a:solidFill>
                <a:effectLst/>
                <a:uLnTx/>
                <a:uFillTx/>
                <a:latin typeface="Calibri" panose="020F0502020204030204" pitchFamily="34" charset="0"/>
                <a:ea typeface="+mn-ea"/>
                <a:cs typeface="+mn-cs"/>
              </a:rPr>
              <a:t>One ambiguous word</a:t>
            </a:r>
          </a:p>
          <a:p>
            <a:pPr marL="395478" marR="0" lvl="2" indent="-22860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r>
              <a:rPr kumimoji="0" lang="en-US" sz="1400" b="0" i="0" u="none" strike="noStrike" kern="0" cap="none" spc="-20" normalizeH="0" baseline="0" noProof="0" dirty="0" smtClean="0">
                <a:ln>
                  <a:noFill/>
                </a:ln>
                <a:solidFill>
                  <a:prstClr val="black"/>
                </a:solidFill>
                <a:effectLst/>
                <a:uLnTx/>
                <a:uFillTx/>
                <a:latin typeface="Calibri" panose="020F0502020204030204" pitchFamily="34" charset="0"/>
                <a:ea typeface="+mn-ea"/>
                <a:cs typeface="+mn-cs"/>
              </a:rPr>
              <a:t>Two </a:t>
            </a:r>
            <a:r>
              <a:rPr kumimoji="0" lang="en-US" sz="1400" b="0" i="0" u="none" strike="noStrike" kern="0" cap="none" spc="-20" normalizeH="0" noProof="0" dirty="0" smtClean="0">
                <a:ln>
                  <a:noFill/>
                </a:ln>
                <a:solidFill>
                  <a:prstClr val="black"/>
                </a:solidFill>
                <a:effectLst/>
                <a:uLnTx/>
                <a:uFillTx/>
                <a:latin typeface="Calibri" panose="020F0502020204030204" pitchFamily="34" charset="0"/>
                <a:ea typeface="+mn-ea"/>
                <a:cs typeface="+mn-cs"/>
              </a:rPr>
              <a:t>entities</a:t>
            </a:r>
            <a:endParaRPr kumimoji="0" lang="en-US" sz="1400" b="0" i="0" u="none" strike="noStrike" kern="0" cap="none" spc="-20" normalizeH="0" baseline="0" noProof="0" dirty="0">
              <a:ln>
                <a:noFill/>
              </a:ln>
              <a:solidFill>
                <a:prstClr val="black"/>
              </a:solidFill>
              <a:effectLst/>
              <a:uLnTx/>
              <a:uFillTx/>
              <a:latin typeface="Calibri" panose="020F0502020204030204" pitchFamily="34" charset="0"/>
              <a:ea typeface="+mn-ea"/>
              <a:cs typeface="+mn-cs"/>
            </a:endParaRPr>
          </a:p>
          <a:p>
            <a:pPr marL="395478" marR="0" lvl="2" indent="-22860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r>
              <a:rPr kumimoji="0" lang="en-US" sz="1400" b="0" i="0" u="none" strike="noStrike" kern="0" cap="none" spc="-20" normalizeH="0" baseline="0" noProof="0" dirty="0" smtClean="0">
                <a:ln>
                  <a:noFill/>
                </a:ln>
                <a:solidFill>
                  <a:prstClr val="black"/>
                </a:solidFill>
                <a:effectLst/>
                <a:uLnTx/>
                <a:uFillTx/>
                <a:latin typeface="Calibri" panose="020F0502020204030204" pitchFamily="34" charset="0"/>
                <a:ea typeface="+mn-ea"/>
                <a:cs typeface="+mn-cs"/>
              </a:rPr>
              <a:t>One name (Amobee)</a:t>
            </a:r>
            <a:endParaRPr kumimoji="0" lang="en-US" sz="1400" b="0" i="0" u="none" strike="noStrike" kern="0" cap="none" spc="-20" normalizeH="0" baseline="0" noProof="0" dirty="0">
              <a:ln>
                <a:noFill/>
              </a:ln>
              <a:solidFill>
                <a:prstClr val="black"/>
              </a:solidFill>
              <a:effectLst/>
              <a:uLnTx/>
              <a:uFillTx/>
              <a:latin typeface="Calibri" panose="020F0502020204030204" pitchFamily="34" charset="0"/>
              <a:ea typeface="+mn-ea"/>
              <a:cs typeface="+mn-cs"/>
            </a:endParaRPr>
          </a:p>
          <a:p>
            <a:pPr marL="395478" marR="0" lvl="2" indent="-22860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r>
              <a:rPr kumimoji="0" lang="en-US" sz="1400" b="0" i="0" u="none" strike="noStrike" kern="0" cap="none" spc="-20" normalizeH="0" baseline="0" noProof="0" dirty="0">
                <a:ln>
                  <a:noFill/>
                </a:ln>
                <a:solidFill>
                  <a:prstClr val="black"/>
                </a:solidFill>
                <a:effectLst/>
                <a:uLnTx/>
                <a:uFillTx/>
                <a:latin typeface="Calibri" panose="020F0502020204030204" pitchFamily="34" charset="0"/>
                <a:ea typeface="+mn-ea"/>
                <a:cs typeface="+mn-cs"/>
              </a:rPr>
              <a:t>No idioms (Out of the blue)</a:t>
            </a:r>
          </a:p>
          <a:p>
            <a:pPr marL="395478" marR="0" lvl="2" indent="-228600" algn="l" defTabSz="457200" rtl="0" eaLnBrk="1" fontAlgn="auto" latinLnBrk="0" hangingPunct="1">
              <a:lnSpc>
                <a:spcPct val="160000"/>
              </a:lnSpc>
              <a:spcBef>
                <a:spcPts val="0"/>
              </a:spcBef>
              <a:spcAft>
                <a:spcPts val="300"/>
              </a:spcAft>
              <a:buClr>
                <a:srgbClr val="3BB0C9"/>
              </a:buClr>
              <a:buSzTx/>
              <a:buFont typeface="Wingdings" panose="05000000000000000000" pitchFamily="2" charset="2"/>
              <a:buChar char="ü"/>
              <a:tabLst/>
              <a:defRPr/>
            </a:pPr>
            <a:r>
              <a:rPr kumimoji="0" lang="en-US" sz="1400" b="0" i="0" u="none" strike="noStrike" kern="0" cap="none" spc="-20" normalizeH="0" baseline="0" noProof="0" dirty="0">
                <a:ln>
                  <a:noFill/>
                </a:ln>
                <a:solidFill>
                  <a:prstClr val="black"/>
                </a:solidFill>
                <a:effectLst/>
                <a:uLnTx/>
                <a:uFillTx/>
                <a:latin typeface="Calibri" panose="020F0502020204030204" pitchFamily="34" charset="0"/>
                <a:ea typeface="+mn-ea"/>
                <a:cs typeface="+mn-cs"/>
              </a:rPr>
              <a:t>No slang  #</a:t>
            </a:r>
            <a:r>
              <a:rPr kumimoji="0" lang="en-US" sz="1400" b="0" i="0" u="none" strike="noStrike" kern="0" cap="none" spc="-20" normalizeH="0" baseline="0" noProof="0" dirty="0" err="1">
                <a:ln>
                  <a:noFill/>
                </a:ln>
                <a:solidFill>
                  <a:prstClr val="black"/>
                </a:solidFill>
                <a:effectLst/>
                <a:uLnTx/>
                <a:uFillTx/>
                <a:latin typeface="Calibri" panose="020F0502020204030204" pitchFamily="34" charset="0"/>
                <a:ea typeface="+mn-ea"/>
                <a:cs typeface="+mn-cs"/>
              </a:rPr>
              <a:t>weeeeee_good_for_us</a:t>
            </a:r>
            <a:r>
              <a:rPr kumimoji="0" lang="en-US" sz="1400" b="0" i="0" u="none" strike="noStrike" kern="0" cap="none" spc="-20" normalizeH="0" baseline="0" noProof="0" dirty="0">
                <a:ln>
                  <a:noFill/>
                </a:ln>
                <a:solidFill>
                  <a:prstClr val="black"/>
                </a:solidFill>
                <a:effectLst/>
                <a:uLnTx/>
                <a:uFillTx/>
                <a:latin typeface="Calibri" panose="020F0502020204030204" pitchFamily="34" charset="0"/>
                <a:ea typeface="+mn-ea"/>
                <a:cs typeface="+mn-cs"/>
              </a:rPr>
              <a:t> </a:t>
            </a:r>
          </a:p>
        </p:txBody>
      </p:sp>
      <p:sp>
        <p:nvSpPr>
          <p:cNvPr id="6" name="TextBox 5"/>
          <p:cNvSpPr txBox="1"/>
          <p:nvPr/>
        </p:nvSpPr>
        <p:spPr>
          <a:xfrm>
            <a:off x="762000" y="833557"/>
            <a:ext cx="4038600" cy="1384995"/>
          </a:xfrm>
          <a:prstGeom prst="rect">
            <a:avLst/>
          </a:prstGeom>
          <a:noFill/>
        </p:spPr>
        <p:txBody>
          <a:bodyPr wrap="square" lIns="182880" tIns="91440" rIns="182880" bIns="91440" rtlCol="0">
            <a:spAutoFit/>
          </a:bodyPr>
          <a:lstStyle/>
          <a:p>
            <a:pPr marL="0" lvl="1"/>
            <a:r>
              <a:rPr lang="en-US" kern="0" spc="-20" dirty="0">
                <a:solidFill>
                  <a:srgbClr val="FF0000"/>
                </a:solidFill>
                <a:latin typeface="Calibri" panose="020F0502020204030204" pitchFamily="34" charset="0"/>
              </a:rPr>
              <a:t>This film </a:t>
            </a:r>
            <a:r>
              <a:rPr lang="en-US" kern="0" spc="-20" dirty="0">
                <a:solidFill>
                  <a:prstClr val="black"/>
                </a:solidFill>
                <a:latin typeface="Calibri" panose="020F0502020204030204" pitchFamily="34" charset="0"/>
              </a:rPr>
              <a:t>doesn’t care about cleverness, </a:t>
            </a:r>
            <a:br>
              <a:rPr lang="en-US" kern="0" spc="-20" dirty="0">
                <a:solidFill>
                  <a:prstClr val="black"/>
                </a:solidFill>
                <a:latin typeface="Calibri" panose="020F0502020204030204" pitchFamily="34" charset="0"/>
              </a:rPr>
            </a:br>
            <a:r>
              <a:rPr lang="en-US" kern="0" spc="-20" dirty="0">
                <a:solidFill>
                  <a:prstClr val="black"/>
                </a:solidFill>
                <a:latin typeface="Calibri" panose="020F0502020204030204" pitchFamily="34" charset="0"/>
              </a:rPr>
              <a:t>wit or any other kind of intelligent </a:t>
            </a:r>
            <a:r>
              <a:rPr lang="en-US" kern="0" spc="-20" dirty="0" smtClean="0">
                <a:solidFill>
                  <a:prstClr val="black"/>
                </a:solidFill>
                <a:latin typeface="Calibri" panose="020F0502020204030204" pitchFamily="34" charset="0"/>
              </a:rPr>
              <a:t>humor but </a:t>
            </a:r>
            <a:r>
              <a:rPr lang="en-US" b="1" kern="0" spc="-20" dirty="0" smtClean="0">
                <a:solidFill>
                  <a:srgbClr val="3366FF"/>
                </a:solidFill>
                <a:latin typeface="Calibri" panose="020F0502020204030204" pitchFamily="34" charset="0"/>
              </a:rPr>
              <a:t>Amobee</a:t>
            </a:r>
            <a:r>
              <a:rPr lang="en-US" kern="0" spc="-20" dirty="0" smtClean="0">
                <a:solidFill>
                  <a:prstClr val="black"/>
                </a:solidFill>
                <a:latin typeface="Calibri" panose="020F0502020204030204" pitchFamily="34" charset="0"/>
              </a:rPr>
              <a:t> is awesome. </a:t>
            </a:r>
            <a:endParaRPr lang="en-US" kern="0" spc="-20" dirty="0">
              <a:solidFill>
                <a:prstClr val="black"/>
              </a:solidFill>
              <a:latin typeface="Calibri" panose="020F0502020204030204" pitchFamily="34" charset="0"/>
            </a:endParaRPr>
          </a:p>
          <a:p>
            <a:pPr algn="l"/>
            <a:endParaRPr lang="en-US" sz="2400" dirty="0" err="1" smtClean="0">
              <a:solidFill>
                <a:schemeClr val="tx1"/>
              </a:solidFill>
              <a:latin typeface="Arial"/>
              <a:cs typeface="Arial"/>
            </a:endParaRPr>
          </a:p>
        </p:txBody>
      </p:sp>
    </p:spTree>
    <p:extLst>
      <p:ext uri="{BB962C8B-B14F-4D97-AF65-F5344CB8AC3E}">
        <p14:creationId xmlns:p14="http://schemas.microsoft.com/office/powerpoint/2010/main" val="402711335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Machine Learning</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4" name="Content Placeholder 3"/>
          <p:cNvSpPr txBox="1">
            <a:spLocks/>
          </p:cNvSpPr>
          <p:nvPr/>
        </p:nvSpPr>
        <p:spPr>
          <a:xfrm>
            <a:off x="450040" y="1200151"/>
            <a:ext cx="7550960" cy="3547110"/>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1" indent="-182563" algn="l" defTabSz="457200" rtl="0" eaLnBrk="1" fontAlgn="auto" latinLnBrk="0" hangingPunct="1">
              <a:lnSpc>
                <a:spcPct val="160000"/>
              </a:lnSpc>
              <a:spcBef>
                <a:spcPts val="0"/>
              </a:spcBef>
              <a:spcAft>
                <a:spcPts val="300"/>
              </a:spcAft>
              <a:buClr>
                <a:srgbClr val="3BB0C9"/>
              </a:buClr>
              <a:buSzTx/>
              <a:buFont typeface="Arial" charset="0"/>
              <a:buChar char="•"/>
              <a:tabLst/>
              <a:defRPr/>
            </a:pPr>
            <a:endParaRPr kumimoji="0" lang="en-US" sz="1200" b="0" i="0" u="none" strike="noStrike" kern="0" cap="none" spc="-20" normalizeH="0" baseline="0" noProof="0" dirty="0">
              <a:ln>
                <a:noFill/>
              </a:ln>
              <a:solidFill>
                <a:prstClr val="black"/>
              </a:solidFill>
              <a:effectLst/>
              <a:uLnTx/>
              <a:uFillTx/>
              <a:latin typeface="Arial"/>
              <a:ea typeface="+mn-ea"/>
              <a:cs typeface="+mn-cs"/>
            </a:endParaRPr>
          </a:p>
        </p:txBody>
      </p:sp>
      <p:sp>
        <p:nvSpPr>
          <p:cNvPr id="5" name="Content Placeholder 3"/>
          <p:cNvSpPr txBox="1">
            <a:spLocks/>
          </p:cNvSpPr>
          <p:nvPr/>
        </p:nvSpPr>
        <p:spPr>
          <a:xfrm>
            <a:off x="602440" y="1047750"/>
            <a:ext cx="7550960" cy="3851911"/>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1" indent="-285750" algn="l" defTabSz="457200" rtl="0" eaLnBrk="1" fontAlgn="auto" latinLnBrk="0" hangingPunct="1">
              <a:spcBef>
                <a:spcPts val="0"/>
              </a:spcBef>
              <a:spcAft>
                <a:spcPts val="300"/>
              </a:spcAft>
              <a:buClr>
                <a:srgbClr val="3BB0C9"/>
              </a:buClr>
              <a:buSzTx/>
              <a:buFont typeface="Wingdings" panose="05000000000000000000" pitchFamily="2" charset="2"/>
              <a:buChar char="ü"/>
              <a:tabLst/>
              <a:defRPr/>
            </a:pPr>
            <a:r>
              <a:rPr kumimoji="0" lang="en-US" sz="1800" b="0" i="0" u="none" strike="noStrike" kern="0" cap="none" spc="-20" normalizeH="0" baseline="0" noProof="0" dirty="0" smtClean="0">
                <a:ln>
                  <a:noFill/>
                </a:ln>
                <a:solidFill>
                  <a:prstClr val="black"/>
                </a:solidFill>
                <a:effectLst/>
                <a:uLnTx/>
                <a:uFillTx/>
                <a:latin typeface="Calibri" panose="020F0502020204030204" pitchFamily="34" charset="0"/>
                <a:ea typeface="+mn-ea"/>
                <a:cs typeface="+mn-cs"/>
              </a:rPr>
              <a:t>Preprocessing: </a:t>
            </a:r>
          </a:p>
          <a:p>
            <a:pPr marL="395478" lvl="2" indent="-285750">
              <a:buClr>
                <a:srgbClr val="3BB0C9"/>
              </a:buClr>
              <a:buFont typeface="Wingdings" panose="05000000000000000000" pitchFamily="2" charset="2"/>
              <a:buChar char="ü"/>
              <a:defRPr/>
            </a:pPr>
            <a:r>
              <a:rPr lang="en-US" sz="1400" kern="0" spc="-20" noProof="0" dirty="0" smtClean="0">
                <a:solidFill>
                  <a:prstClr val="black"/>
                </a:solidFill>
                <a:latin typeface="Calibri" panose="020F0502020204030204" pitchFamily="34" charset="0"/>
              </a:rPr>
              <a:t>Simplifying the English language</a:t>
            </a:r>
          </a:p>
          <a:p>
            <a:pPr marL="395478" lvl="2" indent="-285750">
              <a:buClr>
                <a:srgbClr val="3BB0C9"/>
              </a:buClr>
              <a:buFont typeface="Wingdings" panose="05000000000000000000" pitchFamily="2" charset="2"/>
              <a:buChar char="ü"/>
              <a:defRPr/>
            </a:pPr>
            <a:r>
              <a:rPr lang="en-US" sz="1400" kern="0" spc="-20" noProof="0" dirty="0" smtClean="0">
                <a:solidFill>
                  <a:prstClr val="black"/>
                </a:solidFill>
                <a:latin typeface="Calibri" panose="020F0502020204030204" pitchFamily="34" charset="0"/>
              </a:rPr>
              <a:t>Word2vec &amp; </a:t>
            </a:r>
            <a:r>
              <a:rPr lang="en-US" sz="1400" kern="0" spc="-20" noProof="0" dirty="0" err="1" smtClean="0">
                <a:solidFill>
                  <a:prstClr val="black"/>
                </a:solidFill>
                <a:latin typeface="Calibri" panose="020F0502020204030204" pitchFamily="34" charset="0"/>
              </a:rPr>
              <a:t>FastText</a:t>
            </a:r>
            <a:endParaRPr lang="en-US" sz="1400" kern="0" spc="-20" noProof="0" dirty="0" smtClean="0">
              <a:solidFill>
                <a:prstClr val="black"/>
              </a:solidFill>
              <a:latin typeface="Calibri" panose="020F0502020204030204" pitchFamily="34" charset="0"/>
            </a:endParaRPr>
          </a:p>
          <a:p>
            <a:pPr marL="395478" lvl="2" indent="-285750">
              <a:buClr>
                <a:srgbClr val="3BB0C9"/>
              </a:buClr>
              <a:buFont typeface="Wingdings" panose="05000000000000000000" pitchFamily="2" charset="2"/>
              <a:buChar char="ü"/>
              <a:defRPr/>
            </a:pPr>
            <a:r>
              <a:rPr lang="en-US" sz="1400" kern="0" spc="-20" dirty="0" smtClean="0">
                <a:solidFill>
                  <a:prstClr val="black"/>
                </a:solidFill>
                <a:latin typeface="Calibri" panose="020F0502020204030204" pitchFamily="34" charset="0"/>
              </a:rPr>
              <a:t>POS embedding</a:t>
            </a:r>
            <a:endParaRPr lang="en-US" sz="1400" kern="0" spc="-20" noProof="0" dirty="0" smtClean="0">
              <a:solidFill>
                <a:prstClr val="black"/>
              </a:solidFill>
              <a:latin typeface="Calibri" panose="020F0502020204030204" pitchFamily="34" charset="0"/>
            </a:endParaRPr>
          </a:p>
          <a:p>
            <a:pPr marL="395478" lvl="2" indent="-285750">
              <a:buClr>
                <a:srgbClr val="3BB0C9"/>
              </a:buClr>
              <a:buFont typeface="Wingdings" panose="05000000000000000000" pitchFamily="2" charset="2"/>
              <a:buChar char="ü"/>
              <a:defRPr/>
            </a:pPr>
            <a:r>
              <a:rPr lang="en-US" sz="1400" kern="0" spc="-20" noProof="0" dirty="0" smtClean="0">
                <a:solidFill>
                  <a:prstClr val="black"/>
                </a:solidFill>
                <a:latin typeface="Calibri" panose="020F0502020204030204" pitchFamily="34" charset="0"/>
              </a:rPr>
              <a:t>Sentiment specific </a:t>
            </a:r>
            <a:r>
              <a:rPr lang="en-US" sz="1400" kern="0" spc="-20" noProof="0" dirty="0" err="1" smtClean="0">
                <a:solidFill>
                  <a:prstClr val="black"/>
                </a:solidFill>
                <a:latin typeface="Calibri" panose="020F0502020204030204" pitchFamily="34" charset="0"/>
              </a:rPr>
              <a:t>embeddings</a:t>
            </a:r>
            <a:endParaRPr lang="en-US" sz="1400" kern="0" spc="-20" noProof="0" dirty="0" smtClean="0">
              <a:solidFill>
                <a:prstClr val="black"/>
              </a:solidFill>
              <a:latin typeface="Calibri" panose="020F0502020204030204" pitchFamily="34" charset="0"/>
            </a:endParaRPr>
          </a:p>
          <a:p>
            <a:pPr marL="109728" lvl="2" indent="0">
              <a:buClr>
                <a:srgbClr val="3BB0C9"/>
              </a:buClr>
              <a:buNone/>
              <a:defRPr/>
            </a:pPr>
            <a:endParaRPr lang="en-US" sz="1400" kern="0" spc="-20" noProof="0" dirty="0" smtClean="0">
              <a:solidFill>
                <a:prstClr val="black"/>
              </a:solidFill>
              <a:latin typeface="Calibri" panose="020F0502020204030204" pitchFamily="34" charset="0"/>
            </a:endParaRPr>
          </a:p>
          <a:p>
            <a:pPr marL="285750" lvl="1">
              <a:buClr>
                <a:srgbClr val="3BB0C9"/>
              </a:buClr>
              <a:buFont typeface="Wingdings" panose="05000000000000000000" pitchFamily="2" charset="2"/>
              <a:buChar char="ü"/>
              <a:defRPr/>
            </a:pPr>
            <a:r>
              <a:rPr kumimoji="0" lang="en-US" sz="1800" b="0" i="0" u="none" strike="noStrike" kern="0" cap="none" spc="-20" normalizeH="0" baseline="0" dirty="0" smtClean="0">
                <a:ln>
                  <a:noFill/>
                </a:ln>
                <a:solidFill>
                  <a:prstClr val="black"/>
                </a:solidFill>
                <a:effectLst/>
                <a:uLnTx/>
                <a:uFillTx/>
                <a:latin typeface="Calibri" panose="020F0502020204030204" pitchFamily="34" charset="0"/>
                <a:ea typeface="+mn-ea"/>
                <a:cs typeface="+mn-cs"/>
              </a:rPr>
              <a:t>Computational graph</a:t>
            </a:r>
            <a:endParaRPr lang="en-US" sz="1800" kern="0" spc="-20" dirty="0">
              <a:solidFill>
                <a:prstClr val="black"/>
              </a:solidFill>
              <a:latin typeface="Calibri" panose="020F0502020204030204" pitchFamily="34" charset="0"/>
            </a:endParaRPr>
          </a:p>
          <a:p>
            <a:pPr marL="395478" lvl="2">
              <a:buClr>
                <a:srgbClr val="3BB0C9"/>
              </a:buClr>
              <a:buFont typeface="Wingdings" panose="05000000000000000000" pitchFamily="2" charset="2"/>
              <a:buChar char="ü"/>
              <a:defRPr/>
            </a:pPr>
            <a:r>
              <a:rPr lang="en-US" sz="1400" kern="0" spc="-20" dirty="0" smtClean="0">
                <a:solidFill>
                  <a:prstClr val="black"/>
                </a:solidFill>
                <a:latin typeface="Calibri" panose="020F0502020204030204" pitchFamily="34" charset="0"/>
              </a:rPr>
              <a:t>Embedding</a:t>
            </a:r>
            <a:endParaRPr lang="en-US" sz="1400" kern="0" spc="-20" dirty="0" smtClean="0">
              <a:solidFill>
                <a:prstClr val="black"/>
              </a:solidFill>
              <a:latin typeface="Calibri" panose="020F0502020204030204" pitchFamily="34" charset="0"/>
            </a:endParaRPr>
          </a:p>
          <a:p>
            <a:pPr marL="395478" lvl="2">
              <a:buClr>
                <a:srgbClr val="3BB0C9"/>
              </a:buClr>
              <a:buFont typeface="Wingdings" panose="05000000000000000000" pitchFamily="2" charset="2"/>
              <a:buChar char="ü"/>
              <a:defRPr/>
            </a:pPr>
            <a:r>
              <a:rPr lang="en-US" sz="1400" kern="0" spc="-20" dirty="0" smtClean="0">
                <a:solidFill>
                  <a:prstClr val="black"/>
                </a:solidFill>
                <a:latin typeface="Calibri" panose="020F0502020204030204" pitchFamily="34" charset="0"/>
              </a:rPr>
              <a:t>Bi</a:t>
            </a:r>
            <a:r>
              <a:rPr lang="en-US" sz="1400" kern="0" spc="-20" dirty="0" smtClean="0">
                <a:solidFill>
                  <a:prstClr val="black"/>
                </a:solidFill>
                <a:latin typeface="Calibri" panose="020F0502020204030204" pitchFamily="34" charset="0"/>
              </a:rPr>
              <a:t>-directional </a:t>
            </a:r>
            <a:r>
              <a:rPr lang="en-US" sz="1400" kern="0" spc="-20" dirty="0" smtClean="0">
                <a:solidFill>
                  <a:prstClr val="black"/>
                </a:solidFill>
                <a:latin typeface="Calibri" panose="020F0502020204030204" pitchFamily="34" charset="0"/>
              </a:rPr>
              <a:t>GRU</a:t>
            </a:r>
          </a:p>
          <a:p>
            <a:pPr marL="395478" lvl="2">
              <a:buClr>
                <a:srgbClr val="3BB0C9"/>
              </a:buClr>
              <a:buFont typeface="Wingdings" panose="05000000000000000000" pitchFamily="2" charset="2"/>
              <a:buChar char="ü"/>
              <a:defRPr/>
            </a:pPr>
            <a:r>
              <a:rPr lang="en-US" sz="1400" kern="0" spc="-20" dirty="0" smtClean="0">
                <a:solidFill>
                  <a:prstClr val="black"/>
                </a:solidFill>
                <a:latin typeface="Calibri" panose="020F0502020204030204" pitchFamily="34" charset="0"/>
              </a:rPr>
              <a:t>CNN over GRU internal states</a:t>
            </a:r>
          </a:p>
          <a:p>
            <a:pPr marL="395478" lvl="2">
              <a:buClr>
                <a:srgbClr val="3BB0C9"/>
              </a:buClr>
              <a:buFont typeface="Wingdings" panose="05000000000000000000" pitchFamily="2" charset="2"/>
              <a:buChar char="ü"/>
              <a:defRPr/>
            </a:pPr>
            <a:r>
              <a:rPr lang="en-US" sz="1400" kern="0" spc="-20" dirty="0" smtClean="0">
                <a:solidFill>
                  <a:prstClr val="black"/>
                </a:solidFill>
                <a:latin typeface="Calibri" panose="020F0502020204030204" pitchFamily="34" charset="0"/>
              </a:rPr>
              <a:t>Incorporate prior knowledge about target entity</a:t>
            </a:r>
          </a:p>
          <a:p>
            <a:pPr marL="395478" lvl="2">
              <a:buClr>
                <a:srgbClr val="3BB0C9"/>
              </a:buClr>
              <a:buFont typeface="Wingdings" panose="05000000000000000000" pitchFamily="2" charset="2"/>
              <a:buChar char="ü"/>
              <a:defRPr/>
            </a:pPr>
            <a:r>
              <a:rPr lang="en-US" sz="1400" kern="0" spc="-20" dirty="0" smtClean="0">
                <a:solidFill>
                  <a:prstClr val="black"/>
                </a:solidFill>
                <a:latin typeface="Calibri" panose="020F0502020204030204" pitchFamily="34" charset="0"/>
              </a:rPr>
              <a:t>Ensemble</a:t>
            </a:r>
            <a:endParaRPr lang="en-US" sz="1400" kern="0" spc="-20" dirty="0" smtClean="0">
              <a:solidFill>
                <a:prstClr val="black"/>
              </a:solidFill>
              <a:latin typeface="Calibri" panose="020F0502020204030204" pitchFamily="34" charset="0"/>
            </a:endParaRPr>
          </a:p>
          <a:p>
            <a:pPr marL="395478" lvl="2">
              <a:buClr>
                <a:srgbClr val="3BB0C9"/>
              </a:buClr>
              <a:buFont typeface="Wingdings" panose="05000000000000000000" pitchFamily="2" charset="2"/>
              <a:buChar char="ü"/>
              <a:defRPr/>
            </a:pPr>
            <a:endParaRPr lang="en-US" sz="1400" kern="0" spc="-20" dirty="0" smtClean="0">
              <a:solidFill>
                <a:prstClr val="black"/>
              </a:solidFill>
              <a:latin typeface="Calibri" panose="020F0502020204030204" pitchFamily="34" charset="0"/>
            </a:endParaRPr>
          </a:p>
          <a:p>
            <a:pPr marL="395478" lvl="2">
              <a:buClr>
                <a:srgbClr val="3BB0C9"/>
              </a:buClr>
              <a:buFont typeface="Wingdings" panose="05000000000000000000" pitchFamily="2" charset="2"/>
              <a:buChar char="ü"/>
              <a:defRPr/>
            </a:pPr>
            <a:endParaRPr lang="en-US" sz="1400" kern="0" spc="-20" dirty="0" smtClean="0">
              <a:solidFill>
                <a:prstClr val="black"/>
              </a:solidFill>
              <a:latin typeface="Calibri" panose="020F0502020204030204" pitchFamily="34" charset="0"/>
            </a:endParaRPr>
          </a:p>
          <a:p>
            <a:pPr marL="395478" lvl="2">
              <a:lnSpc>
                <a:spcPct val="160000"/>
              </a:lnSpc>
              <a:buClr>
                <a:srgbClr val="3BB0C9"/>
              </a:buClr>
              <a:buFont typeface="Wingdings" panose="05000000000000000000" pitchFamily="2" charset="2"/>
              <a:buChar char="ü"/>
              <a:defRPr/>
            </a:pPr>
            <a:endParaRPr kumimoji="0" lang="en-US" sz="1400" b="0" i="0" u="none" strike="noStrike" kern="0" cap="none" spc="-20" normalizeH="0" dirty="0" smtClean="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1601549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61775B-D36D-4628-9EEA-86B3FCEAAE2F}" type="slidenum">
              <a:rPr lang="en-US" smtClean="0">
                <a:solidFill>
                  <a:prstClr val="black">
                    <a:tint val="75000"/>
                  </a:prstClr>
                </a:solidFill>
              </a:rPr>
              <a:pPr/>
              <a:t>5</a:t>
            </a:fld>
            <a:endParaRPr lang="en-US">
              <a:solidFill>
                <a:prstClr val="black">
                  <a:tint val="75000"/>
                </a:prstClr>
              </a:solidFill>
            </a:endParaRPr>
          </a:p>
        </p:txBody>
      </p:sp>
      <p:pic>
        <p:nvPicPr>
          <p:cNvPr id="5" name="Picture 4"/>
          <p:cNvPicPr>
            <a:picLocks noChangeAspect="1"/>
          </p:cNvPicPr>
          <p:nvPr/>
        </p:nvPicPr>
        <p:blipFill>
          <a:blip r:embed="rId2"/>
          <a:stretch>
            <a:fillRect/>
          </a:stretch>
        </p:blipFill>
        <p:spPr>
          <a:xfrm>
            <a:off x="0" y="2071007"/>
            <a:ext cx="9144000" cy="2939143"/>
          </a:xfrm>
          <a:prstGeom prst="rect">
            <a:avLst/>
          </a:prstGeom>
        </p:spPr>
      </p:pic>
      <p:sp>
        <p:nvSpPr>
          <p:cNvPr id="6"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Computational Graph</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8" name="Rounded Rectangle 7"/>
          <p:cNvSpPr/>
          <p:nvPr/>
        </p:nvSpPr>
        <p:spPr>
          <a:xfrm>
            <a:off x="457200" y="3257550"/>
            <a:ext cx="1981200" cy="990600"/>
          </a:xfrm>
          <a:prstGeom prst="roundRect">
            <a:avLst/>
          </a:prstGeom>
          <a:noFill/>
          <a:ln w="38100" cmpd="sng">
            <a:solidFill>
              <a:srgbClr val="F0333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20348799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a:defRPr/>
            </a:pPr>
            <a:r>
              <a:rPr lang="en-US" sz="3200" dirty="0">
                <a:solidFill>
                  <a:prstClr val="black"/>
                </a:solidFill>
              </a:rPr>
              <a:t>Preprocessing </a:t>
            </a:r>
            <a:r>
              <a:rPr lang="en-US" sz="3200" dirty="0" smtClean="0">
                <a:solidFill>
                  <a:prstClr val="black"/>
                </a:solidFill>
              </a:rPr>
              <a:t>Example</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2" name="Slide Number Placeholder 4"/>
          <p:cNvSpPr txBox="1"/>
          <p:nvPr/>
        </p:nvSpPr>
        <p:spPr>
          <a:xfrm>
            <a:off x="6457950" y="4926863"/>
            <a:ext cx="1543050" cy="204670"/>
          </a:xfrm>
          <a:prstGeom prst="rect">
            <a:avLst/>
          </a:prstGeom>
          <a:noFill/>
          <a:ln cap="flat">
            <a:noFill/>
          </a:ln>
        </p:spPr>
        <p:txBody>
          <a:bodyPr vert="horz" wrap="square" lIns="68580" tIns="34290" rIns="68580" bIns="34290" anchor="t" anchorCtr="0" compatLnSpc="1">
            <a:noAutofit/>
          </a:bodyPr>
          <a:lstStyle/>
          <a:p>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307CE93-A309-470E-BBE6-4F104AA92AC1}" type="slidenum">
              <a:rPr kumimoji="0" lang="en-US" sz="675" b="0" i="0" u="none" strike="noStrike" kern="0" cap="none" spc="0" normalizeH="0" baseline="0" noProof="0">
                <a:ln>
                  <a:noFill/>
                </a:ln>
                <a:solidFill>
                  <a:srgbClr val="000000"/>
                </a:solidFill>
                <a:effectLst/>
                <a:uLnTx/>
                <a:uFillTx/>
                <a:latin typeface="Calibri"/>
                <a:ea typeface="+mn-ea"/>
                <a:cs typeface="+mn-cs"/>
              </a:rPr>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6</a:t>
            </a:fld>
            <a:endParaRPr kumimoji="0" lang="en-US" sz="675" b="0" i="0" u="none" strike="noStrike" kern="0" cap="none" spc="0" normalizeH="0" baseline="0" noProof="0">
              <a:ln>
                <a:noFill/>
              </a:ln>
              <a:solidFill>
                <a:srgbClr val="000000"/>
              </a:solidFill>
              <a:effectLst/>
              <a:uLnTx/>
              <a:uFillTx/>
              <a:latin typeface="Calibri"/>
              <a:ea typeface="+mn-ea"/>
              <a:cs typeface="+mn-cs"/>
            </a:endParaRPr>
          </a:p>
        </p:txBody>
      </p:sp>
      <p:sp>
        <p:nvSpPr>
          <p:cNvPr id="4" name="Content Placeholder 3"/>
          <p:cNvSpPr txBox="1">
            <a:spLocks/>
          </p:cNvSpPr>
          <p:nvPr/>
        </p:nvSpPr>
        <p:spPr>
          <a:xfrm>
            <a:off x="450040" y="1200151"/>
            <a:ext cx="7550960" cy="3547110"/>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1" indent="-182563" algn="l" defTabSz="457200" rtl="0" eaLnBrk="1" fontAlgn="auto" latinLnBrk="0" hangingPunct="1">
              <a:lnSpc>
                <a:spcPct val="160000"/>
              </a:lnSpc>
              <a:spcBef>
                <a:spcPts val="0"/>
              </a:spcBef>
              <a:spcAft>
                <a:spcPts val="300"/>
              </a:spcAft>
              <a:buClr>
                <a:srgbClr val="3BB0C9"/>
              </a:buClr>
              <a:buSzTx/>
              <a:buFont typeface="Arial" charset="0"/>
              <a:buChar char="•"/>
              <a:tabLst/>
              <a:defRPr/>
            </a:pPr>
            <a:endParaRPr kumimoji="0" lang="en-US" sz="1200" b="0" i="0" u="none" strike="noStrike" kern="0" cap="none" spc="-20" normalizeH="0" baseline="0" noProof="0" dirty="0">
              <a:ln>
                <a:noFill/>
              </a:ln>
              <a:solidFill>
                <a:prstClr val="black"/>
              </a:solidFill>
              <a:effectLst/>
              <a:uLnTx/>
              <a:uFillTx/>
              <a:latin typeface="Arial"/>
              <a:ea typeface="+mn-ea"/>
              <a:cs typeface="+mn-cs"/>
            </a:endParaRPr>
          </a:p>
        </p:txBody>
      </p:sp>
      <p:sp>
        <p:nvSpPr>
          <p:cNvPr id="11" name="TextBox 10"/>
          <p:cNvSpPr txBox="1"/>
          <p:nvPr/>
        </p:nvSpPr>
        <p:spPr>
          <a:xfrm>
            <a:off x="1718130" y="1489116"/>
            <a:ext cx="6054270" cy="830997"/>
          </a:xfrm>
          <a:prstGeom prst="rect">
            <a:avLst/>
          </a:prstGeom>
          <a:noFill/>
        </p:spPr>
        <p:txBody>
          <a:bodyPr wrap="square" rtlCol="0">
            <a:spAutoFit/>
          </a:bodyPr>
          <a:lstStyle/>
          <a:p>
            <a:pPr marL="0" marR="0" lvl="0" indent="0" algn="l" defTabSz="68582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Playing football </a:t>
            </a:r>
            <a:r>
              <a:rPr kumimoji="0" lang="en-US" sz="2400" b="0" i="0" u="none" strike="noStrike" kern="1200" cap="none" spc="0" normalizeH="0" baseline="0" noProof="0" dirty="0" smtClean="0">
                <a:ln>
                  <a:noFill/>
                </a:ln>
                <a:solidFill>
                  <a:prstClr val="black"/>
                </a:solidFill>
                <a:effectLst/>
                <a:uLnTx/>
                <a:uFillTx/>
                <a:latin typeface="Calibri"/>
                <a:ea typeface="+mn-ea"/>
                <a:cs typeface="+mn-cs"/>
              </a:rPr>
              <a:t>at Amobee with five monkeys makes </a:t>
            </a:r>
            <a:r>
              <a:rPr kumimoji="0" lang="en-US" sz="2400" b="0" i="0" u="none" strike="noStrike" kern="1200" cap="none" spc="0" normalizeH="0" baseline="0" noProof="0" dirty="0">
                <a:ln>
                  <a:noFill/>
                </a:ln>
                <a:solidFill>
                  <a:prstClr val="black"/>
                </a:solidFill>
                <a:effectLst/>
                <a:uLnTx/>
                <a:uFillTx/>
                <a:latin typeface="Calibri"/>
                <a:ea typeface="+mn-ea"/>
                <a:cs typeface="+mn-cs"/>
              </a:rPr>
              <a:t>me </a:t>
            </a:r>
            <a:r>
              <a:rPr kumimoji="0" lang="en-US" sz="2400" b="0" i="0" u="none" strike="noStrike" kern="1200" cap="none" spc="0" normalizeH="0" baseline="0" noProof="0" dirty="0" smtClean="0">
                <a:ln>
                  <a:noFill/>
                </a:ln>
                <a:solidFill>
                  <a:prstClr val="black"/>
                </a:solidFill>
                <a:effectLst/>
                <a:uLnTx/>
                <a:uFillTx/>
                <a:latin typeface="Calibri"/>
                <a:ea typeface="+mn-ea"/>
                <a:cs typeface="+mn-cs"/>
              </a:rPr>
              <a:t>happy </a:t>
            </a:r>
            <a:r>
              <a:rPr kumimoji="0" lang="en-US" sz="2400" b="0" i="0" u="none" strike="noStrike" kern="1200" cap="none" spc="0" normalizeH="0" baseline="0" noProof="0" dirty="0" smtClean="0">
                <a:ln>
                  <a:noFill/>
                </a:ln>
                <a:solidFill>
                  <a:prstClr val="black"/>
                </a:solidFill>
                <a:effectLst/>
                <a:uLnTx/>
                <a:uFillTx/>
                <a:latin typeface="Calibri"/>
                <a:ea typeface="+mn-ea"/>
                <a:cs typeface="+mn-cs"/>
                <a:sym typeface="Wingdings"/>
              </a:rPr>
              <a:t></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1698014" y="3264753"/>
            <a:ext cx="5921986" cy="830997"/>
          </a:xfrm>
          <a:prstGeom prst="rect">
            <a:avLst/>
          </a:prstGeom>
          <a:noFill/>
        </p:spPr>
        <p:txBody>
          <a:bodyPr wrap="square" rtlCol="0">
            <a:spAutoFit/>
          </a:bodyPr>
          <a:lstStyle/>
          <a:p>
            <a:pPr lvl="0" defTabSz="685822">
              <a:defRPr/>
            </a:pPr>
            <a:r>
              <a:rPr kumimoji="0" lang="en-US" sz="2400" b="0" i="0" u="none" strike="noStrike" kern="1200" cap="none" spc="0" normalizeH="0" baseline="0" noProof="0" dirty="0" smtClean="0">
                <a:ln>
                  <a:noFill/>
                </a:ln>
                <a:solidFill>
                  <a:prstClr val="black"/>
                </a:solidFill>
                <a:effectLst/>
                <a:uLnTx/>
                <a:uFillTx/>
                <a:latin typeface="Calibri"/>
                <a:ea typeface="+mn-ea"/>
                <a:cs typeface="+mn-cs"/>
              </a:rPr>
              <a:t>Playing </a:t>
            </a:r>
            <a:r>
              <a:rPr kumimoji="0" lang="en-US" sz="2400" b="1" i="0" u="none" strike="noStrike" kern="1200" cap="none" spc="0" normalizeH="0" baseline="0" noProof="0" dirty="0">
                <a:ln w="1905"/>
                <a:gradFill>
                  <a:gsLst>
                    <a:gs pos="0">
                      <a:srgbClr val="C00000">
                        <a:shade val="20000"/>
                        <a:satMod val="200000"/>
                      </a:srgbClr>
                    </a:gs>
                    <a:gs pos="78000">
                      <a:srgbClr val="C00000">
                        <a:tint val="90000"/>
                        <a:shade val="89000"/>
                        <a:satMod val="220000"/>
                      </a:srgbClr>
                    </a:gs>
                    <a:gs pos="100000">
                      <a:srgbClr val="C00000">
                        <a:tint val="12000"/>
                        <a:satMod val="255000"/>
                      </a:srgbClr>
                    </a:gs>
                  </a:gsLst>
                  <a:lin ang="5400000"/>
                </a:gradFill>
                <a:effectLst>
                  <a:innerShdw blurRad="69850" dist="43180" dir="5400000">
                    <a:srgbClr val="000000">
                      <a:alpha val="65000"/>
                    </a:srgbClr>
                  </a:innerShdw>
                </a:effectLst>
                <a:uLnTx/>
                <a:uFillTx/>
                <a:latin typeface="Calibri"/>
                <a:ea typeface="+mn-ea"/>
                <a:cs typeface="+mn-cs"/>
              </a:rPr>
              <a:t>basketball </a:t>
            </a:r>
            <a:r>
              <a:rPr lang="en-US" sz="2400" dirty="0">
                <a:solidFill>
                  <a:prstClr val="black"/>
                </a:solidFill>
                <a:latin typeface="Calibri"/>
              </a:rPr>
              <a:t>at </a:t>
            </a:r>
            <a:r>
              <a:rPr lang="en-US" sz="2400" b="1" dirty="0" smtClean="0">
                <a:ln w="1905"/>
                <a:gradFill>
                  <a:gsLst>
                    <a:gs pos="0">
                      <a:srgbClr val="C00000">
                        <a:shade val="20000"/>
                        <a:satMod val="200000"/>
                      </a:srgbClr>
                    </a:gs>
                    <a:gs pos="78000">
                      <a:srgbClr val="C00000">
                        <a:tint val="90000"/>
                        <a:shade val="89000"/>
                        <a:satMod val="220000"/>
                      </a:srgbClr>
                    </a:gs>
                    <a:gs pos="100000">
                      <a:srgbClr val="C00000">
                        <a:tint val="12000"/>
                        <a:satMod val="255000"/>
                      </a:srgbClr>
                    </a:gs>
                  </a:gsLst>
                  <a:lin ang="5400000"/>
                </a:gradFill>
                <a:effectLst>
                  <a:innerShdw blurRad="69850" dist="43180" dir="5400000">
                    <a:srgbClr val="000000">
                      <a:alpha val="65000"/>
                    </a:srgbClr>
                  </a:innerShdw>
                </a:effectLst>
                <a:latin typeface="Calibri"/>
              </a:rPr>
              <a:t>BRAND </a:t>
            </a:r>
            <a:r>
              <a:rPr lang="en-US" sz="2400" dirty="0" smtClean="0">
                <a:solidFill>
                  <a:prstClr val="black"/>
                </a:solidFill>
                <a:latin typeface="Calibri"/>
              </a:rPr>
              <a:t>with </a:t>
            </a:r>
            <a:r>
              <a:rPr lang="en-US" sz="2400" b="1" dirty="0">
                <a:ln w="1905"/>
                <a:gradFill>
                  <a:gsLst>
                    <a:gs pos="0">
                      <a:srgbClr val="C00000">
                        <a:shade val="20000"/>
                        <a:satMod val="200000"/>
                      </a:srgbClr>
                    </a:gs>
                    <a:gs pos="78000">
                      <a:srgbClr val="C00000">
                        <a:tint val="90000"/>
                        <a:shade val="89000"/>
                        <a:satMod val="220000"/>
                      </a:srgbClr>
                    </a:gs>
                    <a:gs pos="100000">
                      <a:srgbClr val="C00000">
                        <a:tint val="12000"/>
                        <a:satMod val="255000"/>
                      </a:srgbClr>
                    </a:gs>
                  </a:gsLst>
                  <a:lin ang="5400000"/>
                </a:gradFill>
                <a:effectLst>
                  <a:innerShdw blurRad="69850" dist="43180" dir="5400000">
                    <a:srgbClr val="000000">
                      <a:alpha val="65000"/>
                    </a:srgbClr>
                  </a:innerShdw>
                </a:effectLst>
                <a:latin typeface="Calibri"/>
              </a:rPr>
              <a:t>NUMBER</a:t>
            </a:r>
            <a:r>
              <a:rPr lang="en-US" sz="2400" dirty="0" smtClean="0">
                <a:solidFill>
                  <a:prstClr val="black"/>
                </a:solidFill>
                <a:latin typeface="Calibri"/>
              </a:rPr>
              <a:t> </a:t>
            </a:r>
            <a:r>
              <a:rPr lang="en-US" sz="2400" b="1" dirty="0" smtClean="0">
                <a:ln w="1905"/>
                <a:gradFill>
                  <a:gsLst>
                    <a:gs pos="0">
                      <a:srgbClr val="C00000">
                        <a:shade val="20000"/>
                        <a:satMod val="200000"/>
                      </a:srgbClr>
                    </a:gs>
                    <a:gs pos="78000">
                      <a:srgbClr val="C00000">
                        <a:tint val="90000"/>
                        <a:shade val="89000"/>
                        <a:satMod val="220000"/>
                      </a:srgbClr>
                    </a:gs>
                    <a:gs pos="100000">
                      <a:srgbClr val="C00000">
                        <a:tint val="12000"/>
                        <a:satMod val="255000"/>
                      </a:srgbClr>
                    </a:gs>
                  </a:gsLst>
                  <a:lin ang="5400000"/>
                </a:gradFill>
                <a:effectLst>
                  <a:innerShdw blurRad="69850" dist="43180" dir="5400000">
                    <a:srgbClr val="000000">
                      <a:alpha val="65000"/>
                    </a:srgbClr>
                  </a:innerShdw>
                </a:effectLst>
                <a:latin typeface="Calibri"/>
              </a:rPr>
              <a:t>monkey</a:t>
            </a:r>
            <a:r>
              <a:rPr lang="en-US" sz="2400" dirty="0" smtClean="0">
                <a:solidFill>
                  <a:prstClr val="black"/>
                </a:solidFill>
                <a:latin typeface="Calibri"/>
              </a:rPr>
              <a:t> </a:t>
            </a:r>
            <a:r>
              <a:rPr kumimoji="0" lang="en-US" sz="2400" b="1" i="0" u="none" strike="noStrike" kern="1200" cap="none" spc="0" normalizeH="0" baseline="0" noProof="0" dirty="0" smtClean="0">
                <a:ln w="1905"/>
                <a:gradFill>
                  <a:gsLst>
                    <a:gs pos="0">
                      <a:srgbClr val="C00000">
                        <a:shade val="20000"/>
                        <a:satMod val="200000"/>
                      </a:srgbClr>
                    </a:gs>
                    <a:gs pos="78000">
                      <a:srgbClr val="C00000">
                        <a:tint val="90000"/>
                        <a:shade val="89000"/>
                        <a:satMod val="220000"/>
                      </a:srgbClr>
                    </a:gs>
                    <a:gs pos="100000">
                      <a:srgbClr val="C00000">
                        <a:tint val="12000"/>
                        <a:satMod val="255000"/>
                      </a:srgbClr>
                    </a:gs>
                  </a:gsLst>
                  <a:lin ang="5400000"/>
                </a:gradFill>
                <a:effectLst>
                  <a:innerShdw blurRad="69850" dist="43180" dir="5400000">
                    <a:srgbClr val="000000">
                      <a:alpha val="65000"/>
                    </a:srgbClr>
                  </a:innerShdw>
                </a:effectLst>
                <a:uLnTx/>
                <a:uFillTx/>
                <a:latin typeface="Calibri"/>
                <a:ea typeface="+mn-ea"/>
                <a:cs typeface="+mn-cs"/>
              </a:rPr>
              <a:t>make </a:t>
            </a:r>
            <a:r>
              <a:rPr kumimoji="0" lang="en-US" sz="2400" b="0" i="0" u="none" strike="noStrike" kern="1200" cap="none" spc="0" normalizeH="0" baseline="0" noProof="0" dirty="0">
                <a:ln>
                  <a:noFill/>
                </a:ln>
                <a:solidFill>
                  <a:prstClr val="black"/>
                </a:solidFill>
                <a:effectLst/>
                <a:uLnTx/>
                <a:uFillTx/>
                <a:latin typeface="Calibri"/>
                <a:ea typeface="+mn-ea"/>
                <a:cs typeface="+mn-cs"/>
              </a:rPr>
              <a:t>me </a:t>
            </a:r>
            <a:r>
              <a:rPr lang="en-US" sz="2400" dirty="0">
                <a:solidFill>
                  <a:prstClr val="black"/>
                </a:solidFill>
                <a:latin typeface="Calibri"/>
              </a:rPr>
              <a:t>happy</a:t>
            </a:r>
            <a:r>
              <a:rPr lang="en-US" sz="2400" b="1" dirty="0">
                <a:ln w="1905"/>
                <a:gradFill>
                  <a:gsLst>
                    <a:gs pos="0">
                      <a:srgbClr val="C00000">
                        <a:shade val="20000"/>
                        <a:satMod val="200000"/>
                      </a:srgbClr>
                    </a:gs>
                    <a:gs pos="78000">
                      <a:srgbClr val="C00000">
                        <a:tint val="90000"/>
                        <a:shade val="89000"/>
                        <a:satMod val="220000"/>
                      </a:srgbClr>
                    </a:gs>
                    <a:gs pos="100000">
                      <a:srgbClr val="C00000">
                        <a:tint val="12000"/>
                        <a:satMod val="255000"/>
                      </a:srgbClr>
                    </a:gs>
                  </a:gsLst>
                  <a:lin ang="5400000"/>
                </a:gradFill>
                <a:effectLst>
                  <a:innerShdw blurRad="69850" dist="43180" dir="5400000">
                    <a:srgbClr val="000000">
                      <a:alpha val="65000"/>
                    </a:srgbClr>
                  </a:innerShdw>
                </a:effectLst>
                <a:latin typeface="Calibri"/>
              </a:rPr>
              <a:t>, happiness</a:t>
            </a:r>
            <a:r>
              <a:rPr lang="en-US" sz="2400" dirty="0">
                <a:solidFill>
                  <a:prstClr val="black"/>
                </a:solidFill>
                <a:latin typeface="Calibri"/>
              </a:rPr>
              <a:t>  </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Up-Down Arrow 2"/>
          <p:cNvSpPr/>
          <p:nvPr/>
        </p:nvSpPr>
        <p:spPr>
          <a:xfrm>
            <a:off x="4202889" y="2284806"/>
            <a:ext cx="597711" cy="896544"/>
          </a:xfrm>
          <a:prstGeom prst="upDownArrow">
            <a:avLst/>
          </a:prstGeom>
          <a:solidFill>
            <a:srgbClr val="2C7C9F"/>
          </a:solidFill>
          <a:ln w="12700" cap="flat" cmpd="sng" algn="ctr">
            <a:solidFill>
              <a:srgbClr val="2C7C9F">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685822"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900208768"/>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txBox="1">
            <a:spLocks/>
          </p:cNvSpPr>
          <p:nvPr/>
        </p:nvSpPr>
        <p:spPr>
          <a:xfrm>
            <a:off x="297641" y="209550"/>
            <a:ext cx="6560360"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lvl="0" algn="l">
              <a:defRPr/>
            </a:pPr>
            <a:r>
              <a:rPr lang="en-US" sz="3200" kern="0" spc="-20" dirty="0">
                <a:solidFill>
                  <a:prstClr val="black"/>
                </a:solidFill>
                <a:latin typeface="Calibri" panose="020F0502020204030204" pitchFamily="34" charset="0"/>
              </a:rPr>
              <a:t>Word2vec</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2" name="Slide Number Placeholder 4"/>
          <p:cNvSpPr txBox="1"/>
          <p:nvPr/>
        </p:nvSpPr>
        <p:spPr>
          <a:xfrm>
            <a:off x="6457950" y="4926863"/>
            <a:ext cx="1543050" cy="204670"/>
          </a:xfrm>
          <a:prstGeom prst="rect">
            <a:avLst/>
          </a:prstGeom>
          <a:noFill/>
          <a:ln cap="flat">
            <a:noFill/>
          </a:ln>
        </p:spPr>
        <p:txBody>
          <a:bodyPr vert="horz" wrap="square" lIns="68580" tIns="34290" rIns="68580" bIns="34290" anchor="t" anchorCtr="0" compatLnSpc="1">
            <a:noAutofit/>
          </a:bodyPr>
          <a:lstStyle/>
          <a:p>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307CE93-A309-470E-BBE6-4F104AA92AC1}" type="slidenum">
              <a:rPr kumimoji="0" lang="en-US" sz="675" b="0" i="0" u="none" strike="noStrike" kern="0" cap="none" spc="0" normalizeH="0" baseline="0" noProof="0">
                <a:ln>
                  <a:noFill/>
                </a:ln>
                <a:solidFill>
                  <a:srgbClr val="000000"/>
                </a:solidFill>
                <a:effectLst/>
                <a:uLnTx/>
                <a:uFillTx/>
                <a:latin typeface="Calibri"/>
                <a:ea typeface="+mn-ea"/>
                <a:cs typeface="+mn-cs"/>
              </a:rPr>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7</a:t>
            </a:fld>
            <a:endParaRPr kumimoji="0" lang="en-US" sz="675" b="0" i="0" u="none" strike="noStrike" kern="0" cap="none" spc="0" normalizeH="0" baseline="0" noProof="0">
              <a:ln>
                <a:noFill/>
              </a:ln>
              <a:solidFill>
                <a:srgbClr val="000000"/>
              </a:solidFill>
              <a:effectLst/>
              <a:uLnTx/>
              <a:uFillTx/>
              <a:latin typeface="Calibri"/>
              <a:ea typeface="+mn-ea"/>
              <a:cs typeface="+mn-cs"/>
            </a:endParaRPr>
          </a:p>
        </p:txBody>
      </p:sp>
      <p:sp>
        <p:nvSpPr>
          <p:cNvPr id="4" name="Content Placeholder 3"/>
          <p:cNvSpPr txBox="1">
            <a:spLocks/>
          </p:cNvSpPr>
          <p:nvPr/>
        </p:nvSpPr>
        <p:spPr>
          <a:xfrm>
            <a:off x="450040" y="1200151"/>
            <a:ext cx="7550960" cy="3547110"/>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1" indent="-182563" algn="l" defTabSz="457200" rtl="0" eaLnBrk="1" fontAlgn="auto" latinLnBrk="0" hangingPunct="1">
              <a:lnSpc>
                <a:spcPct val="160000"/>
              </a:lnSpc>
              <a:spcBef>
                <a:spcPts val="0"/>
              </a:spcBef>
              <a:spcAft>
                <a:spcPts val="300"/>
              </a:spcAft>
              <a:buClr>
                <a:srgbClr val="3BB0C9"/>
              </a:buClr>
              <a:buSzTx/>
              <a:buFont typeface="Arial" charset="0"/>
              <a:buChar char="•"/>
              <a:tabLst/>
              <a:defRPr/>
            </a:pPr>
            <a:endParaRPr kumimoji="0" lang="en-US" sz="1200" b="0" i="0" u="none" strike="noStrike" kern="0" cap="none" spc="-20" normalizeH="0" baseline="0" noProof="0" dirty="0">
              <a:ln>
                <a:noFill/>
              </a:ln>
              <a:solidFill>
                <a:prstClr val="black"/>
              </a:solidFill>
              <a:effectLst/>
              <a:uLnTx/>
              <a:uFillTx/>
              <a:latin typeface="Arial"/>
              <a:ea typeface="+mn-ea"/>
              <a:cs typeface="+mn-cs"/>
            </a:endParaRPr>
          </a:p>
        </p:txBody>
      </p:sp>
      <p:sp>
        <p:nvSpPr>
          <p:cNvPr id="5" name="TextBox 4"/>
          <p:cNvSpPr txBox="1"/>
          <p:nvPr/>
        </p:nvSpPr>
        <p:spPr>
          <a:xfrm>
            <a:off x="0" y="4774168"/>
            <a:ext cx="1143000" cy="369332"/>
          </a:xfrm>
          <a:prstGeom prst="rect">
            <a:avLst/>
          </a:prstGeom>
          <a:noFill/>
        </p:spPr>
        <p:txBody>
          <a:bodyPr wrap="square" lIns="182880" tIns="91440" rIns="182880" bIns="91440" rtlCol="0">
            <a:spAutoFit/>
          </a:bodyPr>
          <a:lstStyle/>
          <a:p>
            <a:pPr algn="l"/>
            <a:r>
              <a:rPr lang="en-US" sz="1200" dirty="0" smtClean="0">
                <a:solidFill>
                  <a:schemeClr val="tx1"/>
                </a:solidFill>
                <a:latin typeface="Arial"/>
                <a:cs typeface="Arial"/>
                <a:hlinkClick r:id="rId3"/>
              </a:rPr>
              <a:t>word2vec</a:t>
            </a:r>
            <a:endParaRPr lang="en-US" sz="1200" dirty="0" smtClean="0">
              <a:solidFill>
                <a:schemeClr val="tx1"/>
              </a:solidFill>
              <a:latin typeface="Arial"/>
              <a:cs typeface="Arial"/>
            </a:endParaRPr>
          </a:p>
        </p:txBody>
      </p:sp>
      <p:pic>
        <p:nvPicPr>
          <p:cNvPr id="10" name="Picture 9"/>
          <p:cNvPicPr>
            <a:picLocks noChangeAspect="1"/>
          </p:cNvPicPr>
          <p:nvPr/>
        </p:nvPicPr>
        <p:blipFill>
          <a:blip r:embed="rId4"/>
          <a:stretch>
            <a:fillRect/>
          </a:stretch>
        </p:blipFill>
        <p:spPr>
          <a:xfrm>
            <a:off x="1371600" y="1047750"/>
            <a:ext cx="5611430" cy="3306590"/>
          </a:xfrm>
          <a:prstGeom prst="rect">
            <a:avLst/>
          </a:prstGeom>
        </p:spPr>
      </p:pic>
      <p:sp>
        <p:nvSpPr>
          <p:cNvPr id="11" name="TextBox 10"/>
          <p:cNvSpPr txBox="1"/>
          <p:nvPr/>
        </p:nvSpPr>
        <p:spPr>
          <a:xfrm>
            <a:off x="685800" y="4324350"/>
            <a:ext cx="3505200" cy="430887"/>
          </a:xfrm>
          <a:prstGeom prst="rect">
            <a:avLst/>
          </a:prstGeom>
          <a:noFill/>
        </p:spPr>
        <p:txBody>
          <a:bodyPr wrap="square" lIns="182880" tIns="91440" rIns="182880" bIns="91440" rtlCol="0">
            <a:spAutoFit/>
          </a:bodyPr>
          <a:lstStyle/>
          <a:p>
            <a:pPr algn="l"/>
            <a:r>
              <a:rPr lang="en-US" sz="1600" dirty="0" smtClean="0">
                <a:solidFill>
                  <a:srgbClr val="FF0000"/>
                </a:solidFill>
                <a:latin typeface="Arial"/>
                <a:cs typeface="Arial"/>
              </a:rPr>
              <a:t>Amobee is </a:t>
            </a:r>
            <a:r>
              <a:rPr lang="en-US" sz="1600" dirty="0" smtClean="0">
                <a:solidFill>
                  <a:srgbClr val="FF0000"/>
                </a:solidFill>
                <a:latin typeface="Arial"/>
                <a:cs typeface="Arial"/>
              </a:rPr>
              <a:t>a</a:t>
            </a:r>
            <a:r>
              <a:rPr lang="en-US" sz="1600" dirty="0" smtClean="0">
                <a:solidFill>
                  <a:schemeClr val="tx1"/>
                </a:solidFill>
                <a:latin typeface="Arial"/>
                <a:cs typeface="Arial"/>
              </a:rPr>
              <a:t> </a:t>
            </a:r>
            <a:r>
              <a:rPr lang="en-US" sz="1600" dirty="0" smtClean="0">
                <a:latin typeface="Arial"/>
                <a:cs typeface="Arial"/>
              </a:rPr>
              <a:t>good</a:t>
            </a:r>
            <a:r>
              <a:rPr lang="en-US" sz="1600" dirty="0" smtClean="0">
                <a:solidFill>
                  <a:srgbClr val="FF0000"/>
                </a:solidFill>
                <a:latin typeface="Arial"/>
                <a:cs typeface="Arial"/>
              </a:rPr>
              <a:t> company </a:t>
            </a:r>
            <a:endParaRPr lang="en-US" sz="1600" dirty="0" smtClean="0">
              <a:solidFill>
                <a:srgbClr val="FF0000"/>
              </a:solidFill>
              <a:latin typeface="Arial"/>
              <a:cs typeface="Arial"/>
            </a:endParaRPr>
          </a:p>
        </p:txBody>
      </p:sp>
      <p:sp>
        <p:nvSpPr>
          <p:cNvPr id="13" name="TextBox 12"/>
          <p:cNvSpPr txBox="1"/>
          <p:nvPr/>
        </p:nvSpPr>
        <p:spPr>
          <a:xfrm>
            <a:off x="4953000" y="4324350"/>
            <a:ext cx="3505200" cy="430887"/>
          </a:xfrm>
          <a:prstGeom prst="rect">
            <a:avLst/>
          </a:prstGeom>
          <a:noFill/>
        </p:spPr>
        <p:txBody>
          <a:bodyPr wrap="square" lIns="182880" tIns="91440" rIns="182880" bIns="91440" rtlCol="0">
            <a:spAutoFit/>
          </a:bodyPr>
          <a:lstStyle/>
          <a:p>
            <a:pPr algn="l"/>
            <a:r>
              <a:rPr lang="en-US" sz="1600" dirty="0" smtClean="0">
                <a:solidFill>
                  <a:schemeClr val="bg1">
                    <a:lumMod val="75000"/>
                  </a:schemeClr>
                </a:solidFill>
                <a:latin typeface="Arial"/>
                <a:cs typeface="Arial"/>
              </a:rPr>
              <a:t>Amobee is </a:t>
            </a:r>
            <a:r>
              <a:rPr lang="en-US" sz="1600" dirty="0">
                <a:solidFill>
                  <a:srgbClr val="BFBFBF"/>
                </a:solidFill>
                <a:latin typeface="Arial"/>
                <a:cs typeface="Arial"/>
              </a:rPr>
              <a:t>a</a:t>
            </a:r>
            <a:r>
              <a:rPr lang="en-US" sz="1600" dirty="0" smtClean="0">
                <a:latin typeface="Arial"/>
                <a:cs typeface="Arial"/>
              </a:rPr>
              <a:t> </a:t>
            </a:r>
            <a:r>
              <a:rPr lang="en-US" sz="1600" dirty="0" smtClean="0">
                <a:solidFill>
                  <a:srgbClr val="FF0000"/>
                </a:solidFill>
                <a:latin typeface="Arial"/>
                <a:cs typeface="Arial"/>
              </a:rPr>
              <a:t>good</a:t>
            </a:r>
            <a:r>
              <a:rPr lang="en-US" sz="1600" dirty="0" smtClean="0">
                <a:solidFill>
                  <a:srgbClr val="BFBFBF"/>
                </a:solidFill>
                <a:latin typeface="Arial"/>
                <a:cs typeface="Arial"/>
              </a:rPr>
              <a:t> company </a:t>
            </a:r>
            <a:endParaRPr lang="en-US" sz="1600" dirty="0" smtClean="0">
              <a:solidFill>
                <a:srgbClr val="BFBFBF"/>
              </a:solidFill>
              <a:latin typeface="Arial"/>
              <a:cs typeface="Arial"/>
            </a:endParaRPr>
          </a:p>
        </p:txBody>
      </p:sp>
    </p:spTree>
    <p:extLst>
      <p:ext uri="{BB962C8B-B14F-4D97-AF65-F5344CB8AC3E}">
        <p14:creationId xmlns:p14="http://schemas.microsoft.com/office/powerpoint/2010/main" val="9197526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61775B-D36D-4628-9EEA-86B3FCEAAE2F}" type="slidenum">
              <a:rPr lang="en-US" smtClean="0">
                <a:solidFill>
                  <a:prstClr val="black">
                    <a:tint val="75000"/>
                  </a:prstClr>
                </a:solidFill>
              </a:rPr>
              <a:pPr/>
              <a:t>8</a:t>
            </a:fld>
            <a:endParaRPr lang="en-US">
              <a:solidFill>
                <a:prstClr val="black">
                  <a:tint val="75000"/>
                </a:prstClr>
              </a:solidFill>
            </a:endParaRPr>
          </a:p>
        </p:txBody>
      </p:sp>
      <p:pic>
        <p:nvPicPr>
          <p:cNvPr id="5" name="Picture 4"/>
          <p:cNvPicPr>
            <a:picLocks noChangeAspect="1"/>
          </p:cNvPicPr>
          <p:nvPr/>
        </p:nvPicPr>
        <p:blipFill>
          <a:blip r:embed="rId2"/>
          <a:stretch>
            <a:fillRect/>
          </a:stretch>
        </p:blipFill>
        <p:spPr>
          <a:xfrm>
            <a:off x="0" y="2071007"/>
            <a:ext cx="9144000" cy="2939143"/>
          </a:xfrm>
          <a:prstGeom prst="rect">
            <a:avLst/>
          </a:prstGeom>
        </p:spPr>
      </p:pic>
      <p:sp>
        <p:nvSpPr>
          <p:cNvPr id="6"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Computational Graph</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8" name="Rounded Rectangle 7"/>
          <p:cNvSpPr/>
          <p:nvPr/>
        </p:nvSpPr>
        <p:spPr>
          <a:xfrm>
            <a:off x="2438400" y="2266950"/>
            <a:ext cx="1981200" cy="1981200"/>
          </a:xfrm>
          <a:prstGeom prst="roundRect">
            <a:avLst/>
          </a:prstGeom>
          <a:noFill/>
          <a:ln w="38100" cmpd="sng">
            <a:solidFill>
              <a:srgbClr val="F0333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21387580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txBox="1">
            <a:spLocks/>
          </p:cNvSpPr>
          <p:nvPr/>
        </p:nvSpPr>
        <p:spPr>
          <a:xfrm>
            <a:off x="297640" y="209550"/>
            <a:ext cx="8541559" cy="511135"/>
          </a:xfrm>
          <a:prstGeom prst="rect">
            <a:avLst/>
          </a:prstGeom>
        </p:spPr>
        <p:txBody>
          <a:bodyPr anchor="t"/>
          <a:lstStyle>
            <a:lvl1pPr algn="ctr" defTabSz="457200" rtl="0" eaLnBrk="1" latinLnBrk="0" hangingPunct="1">
              <a:lnSpc>
                <a:spcPct val="80000"/>
              </a:lnSpc>
              <a:spcBef>
                <a:spcPct val="0"/>
              </a:spcBef>
              <a:buNone/>
              <a:defRPr sz="4500" b="1" kern="1200" spc="-50" baseline="0">
                <a:solidFill>
                  <a:schemeClr val="tx1"/>
                </a:solidFill>
                <a:effectLst/>
                <a:latin typeface="+mj-lt"/>
                <a:ea typeface="+mj-ea"/>
                <a:cs typeface="+mj-cs"/>
              </a:defRPr>
            </a:lvl1pPr>
          </a:lstStyle>
          <a:p>
            <a:pPr marL="0" marR="0" lvl="0" indent="0" defTabSz="457200" rtl="0" eaLnBrk="1" fontAlgn="auto" latinLnBrk="0" hangingPunct="1">
              <a:lnSpc>
                <a:spcPct val="80000"/>
              </a:lnSpc>
              <a:spcBef>
                <a:spcPct val="0"/>
              </a:spcBef>
              <a:spcAft>
                <a:spcPts val="0"/>
              </a:spcAft>
              <a:buClrTx/>
              <a:buSzTx/>
              <a:buFontTx/>
              <a:buNone/>
              <a:tabLst/>
              <a:defRPr/>
            </a:pPr>
            <a:r>
              <a:rPr kumimoji="0" lang="en-US" sz="3200" b="1" i="0" u="none" strike="noStrike" kern="1200" cap="none" spc="-50" normalizeH="0" baseline="0" noProof="0" dirty="0" smtClean="0">
                <a:ln>
                  <a:noFill/>
                </a:ln>
                <a:solidFill>
                  <a:prstClr val="black"/>
                </a:solidFill>
                <a:effectLst/>
                <a:uLnTx/>
                <a:uFillTx/>
                <a:latin typeface="Arial"/>
                <a:ea typeface="+mj-ea"/>
                <a:cs typeface="+mj-cs"/>
              </a:rPr>
              <a:t>Bidirectional </a:t>
            </a:r>
            <a:r>
              <a:rPr kumimoji="0" lang="en-US" sz="3200" b="1" i="0" u="none" strike="noStrike" kern="1200" cap="none" spc="-50" normalizeH="0" baseline="0" noProof="0" dirty="0" smtClean="0">
                <a:ln>
                  <a:noFill/>
                </a:ln>
                <a:solidFill>
                  <a:prstClr val="black"/>
                </a:solidFill>
                <a:effectLst/>
                <a:uLnTx/>
                <a:uFillTx/>
                <a:latin typeface="Arial"/>
                <a:ea typeface="+mj-ea"/>
                <a:cs typeface="+mj-cs"/>
              </a:rPr>
              <a:t>GRU</a:t>
            </a:r>
            <a:endParaRPr kumimoji="0" lang="en-US" sz="3200" b="1" i="0" u="none" strike="noStrike" kern="1200" cap="none" spc="-50" normalizeH="0" baseline="0" noProof="0" dirty="0">
              <a:ln>
                <a:noFill/>
              </a:ln>
              <a:solidFill>
                <a:prstClr val="black"/>
              </a:solidFill>
              <a:effectLst/>
              <a:uLnTx/>
              <a:uFillTx/>
              <a:latin typeface="Arial"/>
              <a:ea typeface="+mj-ea"/>
              <a:cs typeface="+mj-cs"/>
            </a:endParaRPr>
          </a:p>
        </p:txBody>
      </p:sp>
      <p:sp>
        <p:nvSpPr>
          <p:cNvPr id="2" name="Slide Number Placeholder 4"/>
          <p:cNvSpPr txBox="1"/>
          <p:nvPr/>
        </p:nvSpPr>
        <p:spPr>
          <a:xfrm>
            <a:off x="6457950" y="4926863"/>
            <a:ext cx="1543050" cy="204670"/>
          </a:xfrm>
          <a:prstGeom prst="rect">
            <a:avLst/>
          </a:prstGeom>
          <a:noFill/>
          <a:ln cap="flat">
            <a:noFill/>
          </a:ln>
        </p:spPr>
        <p:txBody>
          <a:bodyPr vert="horz" wrap="square" lIns="68580" tIns="34290" rIns="68580" bIns="34290" anchor="t" anchorCtr="0" compatLnSpc="1">
            <a:noAutofit/>
          </a:bodyPr>
          <a:lstStyle/>
          <a:p>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8307CE93-A309-470E-BBE6-4F104AA92AC1}" type="slidenum">
              <a:rPr kumimoji="0" lang="en-US" sz="675" b="0" i="0" u="none" strike="noStrike" kern="0" cap="none" spc="0" normalizeH="0" baseline="0" noProof="0">
                <a:ln>
                  <a:noFill/>
                </a:ln>
                <a:solidFill>
                  <a:srgbClr val="000000"/>
                </a:solidFill>
                <a:effectLst/>
                <a:uLnTx/>
                <a:uFillTx/>
                <a:latin typeface="Calibri"/>
                <a:ea typeface="+mn-ea"/>
                <a:cs typeface="+mn-cs"/>
              </a:rPr>
              <a:pPr marL="0" marR="0" lvl="0" indent="0" algn="r" defTabSz="68572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9</a:t>
            </a:fld>
            <a:endParaRPr kumimoji="0" lang="en-US" sz="675" b="0" i="0" u="none" strike="noStrike" kern="0" cap="none" spc="0" normalizeH="0" baseline="0" noProof="0">
              <a:ln>
                <a:noFill/>
              </a:ln>
              <a:solidFill>
                <a:srgbClr val="000000"/>
              </a:solidFill>
              <a:effectLst/>
              <a:uLnTx/>
              <a:uFillTx/>
              <a:latin typeface="Calibri"/>
              <a:ea typeface="+mn-ea"/>
              <a:cs typeface="+mn-cs"/>
            </a:endParaRPr>
          </a:p>
        </p:txBody>
      </p:sp>
      <p:sp>
        <p:nvSpPr>
          <p:cNvPr id="4" name="Content Placeholder 3"/>
          <p:cNvSpPr txBox="1">
            <a:spLocks/>
          </p:cNvSpPr>
          <p:nvPr/>
        </p:nvSpPr>
        <p:spPr>
          <a:xfrm>
            <a:off x="450040" y="1200151"/>
            <a:ext cx="7550960" cy="3547110"/>
          </a:xfrm>
          <a:prstGeom prst="rect">
            <a:avLst/>
          </a:prstGeom>
        </p:spPr>
        <p:txBody>
          <a:bodyPr>
            <a:noAutofit/>
          </a:bodyPr>
          <a:lstStyle>
            <a:lvl1pPr marL="342900" indent="-342900" algn="l" defTabSz="457200" rtl="0" eaLnBrk="1" latinLnBrk="0" hangingPunct="1">
              <a:spcBef>
                <a:spcPts val="400"/>
              </a:spcBef>
              <a:spcAft>
                <a:spcPts val="600"/>
              </a:spcAft>
              <a:buClr>
                <a:schemeClr val="accent3"/>
              </a:buClr>
              <a:buFont typeface="Arial" panose="020B0604020202020204" pitchFamily="34" charset="0"/>
              <a:buChar char="•"/>
              <a:defRPr sz="2400" kern="1200" spc="-30" baseline="0">
                <a:solidFill>
                  <a:schemeClr val="tx1"/>
                </a:solidFill>
                <a:effectLst/>
                <a:latin typeface="+mn-lt"/>
                <a:ea typeface="+mn-ea"/>
                <a:cs typeface="+mn-cs"/>
              </a:defRPr>
            </a:lvl1pPr>
            <a:lvl2pPr marL="621792" indent="-285750" algn="l" defTabSz="457200" rtl="0" eaLnBrk="1" latinLnBrk="0" hangingPunct="1">
              <a:spcBef>
                <a:spcPts val="0"/>
              </a:spcBef>
              <a:spcAft>
                <a:spcPts val="300"/>
              </a:spcAft>
              <a:buClr>
                <a:schemeClr val="accent3"/>
              </a:buClr>
              <a:buFont typeface="Arial" panose="020B0604020202020204" pitchFamily="34" charset="0"/>
              <a:buChar char="•"/>
              <a:defRPr sz="2000" kern="1200" spc="-30" baseline="0">
                <a:solidFill>
                  <a:schemeClr val="tx1"/>
                </a:solidFill>
                <a:effectLst/>
                <a:latin typeface="+mn-lt"/>
                <a:ea typeface="+mn-ea"/>
                <a:cs typeface="+mn-cs"/>
              </a:defRPr>
            </a:lvl2pPr>
            <a:lvl3pPr marL="731520" indent="-228600" algn="l" defTabSz="457200" rtl="0" eaLnBrk="1" latinLnBrk="0" hangingPunct="1">
              <a:spcBef>
                <a:spcPts val="0"/>
              </a:spcBef>
              <a:spcAft>
                <a:spcPts val="300"/>
              </a:spcAft>
              <a:buClr>
                <a:schemeClr val="accent3"/>
              </a:buClr>
              <a:buFont typeface="Arial" panose="020B0604020202020204" pitchFamily="34" charset="0"/>
              <a:buChar char="•"/>
              <a:defRPr sz="1600" kern="1200" spc="-30" baseline="0">
                <a:solidFill>
                  <a:schemeClr val="tx1"/>
                </a:solidFill>
                <a:effectLst/>
                <a:latin typeface="+mn-lt"/>
                <a:ea typeface="+mn-ea"/>
                <a:cs typeface="+mn-cs"/>
              </a:defRPr>
            </a:lvl3pPr>
            <a:lvl4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400" kern="1200" spc="-30" baseline="0">
                <a:solidFill>
                  <a:schemeClr val="tx1"/>
                </a:solidFill>
                <a:effectLst/>
                <a:latin typeface="+mn-lt"/>
                <a:ea typeface="+mn-ea"/>
                <a:cs typeface="+mn-cs"/>
              </a:defRPr>
            </a:lvl4pPr>
            <a:lvl5pPr marL="914400" indent="-228600" algn="l" defTabSz="457200" rtl="0" eaLnBrk="1" latinLnBrk="0" hangingPunct="1">
              <a:spcBef>
                <a:spcPts val="0"/>
              </a:spcBef>
              <a:spcAft>
                <a:spcPts val="300"/>
              </a:spcAft>
              <a:buClr>
                <a:schemeClr val="accent3"/>
              </a:buClr>
              <a:buFont typeface="Arial" panose="020B0604020202020204" pitchFamily="34" charset="0"/>
              <a:buChar char="•"/>
              <a:defRPr sz="1200" kern="1200" spc="-30" baseline="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563" marR="0" lvl="1" indent="-182563" algn="l" defTabSz="457200" rtl="0" eaLnBrk="1" fontAlgn="auto" latinLnBrk="0" hangingPunct="1">
              <a:lnSpc>
                <a:spcPct val="160000"/>
              </a:lnSpc>
              <a:spcBef>
                <a:spcPts val="0"/>
              </a:spcBef>
              <a:spcAft>
                <a:spcPts val="300"/>
              </a:spcAft>
              <a:buClr>
                <a:srgbClr val="3BB0C9"/>
              </a:buClr>
              <a:buSzTx/>
              <a:buFont typeface="Arial" charset="0"/>
              <a:buChar char="•"/>
              <a:tabLst/>
              <a:defRPr/>
            </a:pPr>
            <a:endParaRPr kumimoji="0" lang="en-US" sz="1200" b="0" i="0" u="none" strike="noStrike" kern="0" cap="none" spc="-20" normalizeH="0" baseline="0" noProof="0" dirty="0">
              <a:ln>
                <a:noFill/>
              </a:ln>
              <a:solidFill>
                <a:prstClr val="black"/>
              </a:solidFill>
              <a:effectLst/>
              <a:uLnTx/>
              <a:uFillTx/>
              <a:latin typeface="Arial"/>
              <a:ea typeface="+mn-ea"/>
              <a:cs typeface="+mn-cs"/>
            </a:endParaRPr>
          </a:p>
        </p:txBody>
      </p:sp>
      <p:sp>
        <p:nvSpPr>
          <p:cNvPr id="6" name="TextBox 5"/>
          <p:cNvSpPr txBox="1"/>
          <p:nvPr/>
        </p:nvSpPr>
        <p:spPr>
          <a:xfrm>
            <a:off x="3352800" y="4476750"/>
            <a:ext cx="1524000" cy="400110"/>
          </a:xfrm>
          <a:prstGeom prst="rect">
            <a:avLst/>
          </a:prstGeom>
          <a:noFill/>
        </p:spPr>
        <p:txBody>
          <a:bodyPr wrap="square" lIns="182880" tIns="91440" rIns="182880" bIns="91440" rtlCol="0">
            <a:spAutoFit/>
          </a:bodyPr>
          <a:lstStyle/>
          <a:p>
            <a:pPr algn="l"/>
            <a:r>
              <a:rPr lang="en-US" sz="1400" dirty="0" smtClean="0">
                <a:solidFill>
                  <a:schemeClr val="tx1"/>
                </a:solidFill>
                <a:latin typeface="Arial"/>
                <a:cs typeface="Arial"/>
                <a:hlinkClick r:id="rId3"/>
              </a:rPr>
              <a:t>LSTM &amp; GRU</a:t>
            </a:r>
            <a:r>
              <a:rPr lang="en-US" sz="1400" dirty="0" smtClean="0">
                <a:solidFill>
                  <a:schemeClr val="tx1"/>
                </a:solidFill>
                <a:latin typeface="Arial"/>
                <a:cs typeface="Arial"/>
              </a:rPr>
              <a:t> </a:t>
            </a:r>
            <a:endParaRPr lang="en-US" sz="1400" dirty="0" smtClean="0">
              <a:solidFill>
                <a:schemeClr val="tx1"/>
              </a:solidFill>
              <a:latin typeface="Arial"/>
              <a:cs typeface="Arial"/>
            </a:endParaRPr>
          </a:p>
        </p:txBody>
      </p:sp>
      <p:pic>
        <p:nvPicPr>
          <p:cNvPr id="9" name="Picture 8"/>
          <p:cNvPicPr>
            <a:picLocks noChangeAspect="1"/>
          </p:cNvPicPr>
          <p:nvPr/>
        </p:nvPicPr>
        <p:blipFill>
          <a:blip r:embed="rId4"/>
          <a:stretch>
            <a:fillRect/>
          </a:stretch>
        </p:blipFill>
        <p:spPr>
          <a:xfrm>
            <a:off x="838200" y="1117731"/>
            <a:ext cx="6336984" cy="3282819"/>
          </a:xfrm>
          <a:prstGeom prst="rect">
            <a:avLst/>
          </a:prstGeom>
        </p:spPr>
      </p:pic>
      <p:pic>
        <p:nvPicPr>
          <p:cNvPr id="11" name="Picture 10"/>
          <p:cNvPicPr>
            <a:picLocks noChangeAspect="1"/>
          </p:cNvPicPr>
          <p:nvPr/>
        </p:nvPicPr>
        <p:blipFill>
          <a:blip r:embed="rId5"/>
          <a:stretch>
            <a:fillRect/>
          </a:stretch>
        </p:blipFill>
        <p:spPr>
          <a:xfrm>
            <a:off x="6248400" y="4231822"/>
            <a:ext cx="2895600" cy="930728"/>
          </a:xfrm>
          <a:prstGeom prst="rect">
            <a:avLst/>
          </a:prstGeom>
        </p:spPr>
      </p:pic>
    </p:spTree>
    <p:extLst>
      <p:ext uri="{BB962C8B-B14F-4D97-AF65-F5344CB8AC3E}">
        <p14:creationId xmlns:p14="http://schemas.microsoft.com/office/powerpoint/2010/main" val="330809119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10.xml><?xml version="1.0" encoding="utf-8"?>
<a:theme xmlns:a="http://schemas.openxmlformats.org/drawingml/2006/main" name="2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11.xml><?xml version="1.0" encoding="utf-8"?>
<a:theme xmlns:a="http://schemas.openxmlformats.org/drawingml/2006/main" name="3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12.xml><?xml version="1.0" encoding="utf-8"?>
<a:theme xmlns:a="http://schemas.openxmlformats.org/drawingml/2006/main" name="3_Blank with Logo">
  <a:themeElements>
    <a:clrScheme name="Amobee">
      <a:dk1>
        <a:sysClr val="windowText" lastClr="000000"/>
      </a:dk1>
      <a:lt1>
        <a:sysClr val="window" lastClr="FFFFFF"/>
      </a:lt1>
      <a:dk2>
        <a:srgbClr val="FFFFFF"/>
      </a:dk2>
      <a:lt2>
        <a:srgbClr val="FFFFFF"/>
      </a:lt2>
      <a:accent1>
        <a:srgbClr val="6B9EE8"/>
      </a:accent1>
      <a:accent2>
        <a:srgbClr val="00D5DA"/>
      </a:accent2>
      <a:accent3>
        <a:srgbClr val="28CE9B"/>
      </a:accent3>
      <a:accent4>
        <a:srgbClr val="AE80F3"/>
      </a:accent4>
      <a:accent5>
        <a:srgbClr val="F2A06E"/>
      </a:accent5>
      <a:accent6>
        <a:srgbClr val="EA6868"/>
      </a:accent6>
      <a:hlink>
        <a:srgbClr val="6B9EE8"/>
      </a:hlink>
      <a:folHlink>
        <a:srgbClr val="A7EE7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13.xml><?xml version="1.0" encoding="utf-8"?>
<a:theme xmlns:a="http://schemas.openxmlformats.org/drawingml/2006/main" name="Agenda / Section Dividers">
  <a:themeElements>
    <a:clrScheme name="Amobee">
      <a:dk1>
        <a:srgbClr val="000000"/>
      </a:dk1>
      <a:lt1>
        <a:srgbClr val="3BB0C9"/>
      </a:lt1>
      <a:dk2>
        <a:srgbClr val="FFFFFF"/>
      </a:dk2>
      <a:lt2>
        <a:srgbClr val="4D4845"/>
      </a:lt2>
      <a:accent1>
        <a:srgbClr val="3BB0C9"/>
      </a:accent1>
      <a:accent2>
        <a:srgbClr val="27588D"/>
      </a:accent2>
      <a:accent3>
        <a:srgbClr val="717271"/>
      </a:accent3>
      <a:accent4>
        <a:srgbClr val="696E9F"/>
      </a:accent4>
      <a:accent5>
        <a:srgbClr val="B34C59"/>
      </a:accent5>
      <a:accent6>
        <a:srgbClr val="4F7F70"/>
      </a:accent6>
      <a:hlink>
        <a:srgbClr val="3BB0C9"/>
      </a:hlink>
      <a:folHlink>
        <a:srgbClr val="3BB0C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Amobee PPT Template Illuminated" id="{45F041D3-F036-0E47-837B-39B80C854F78}" vid="{A0BBB280-C7DB-9941-806D-F6B19B5C0E0D}"/>
    </a:ext>
  </a:extLst>
</a:theme>
</file>

<file path=ppt/theme/theme14.xml><?xml version="1.0" encoding="utf-8"?>
<a:theme xmlns:a="http://schemas.openxmlformats.org/drawingml/2006/main" name="Amobee PPT Master">
  <a:themeElements>
    <a:clrScheme name="Amobee">
      <a:dk1>
        <a:srgbClr val="000000"/>
      </a:dk1>
      <a:lt1>
        <a:srgbClr val="3BB0C9"/>
      </a:lt1>
      <a:dk2>
        <a:srgbClr val="FFFFFF"/>
      </a:dk2>
      <a:lt2>
        <a:srgbClr val="4D4845"/>
      </a:lt2>
      <a:accent1>
        <a:srgbClr val="3BB0C9"/>
      </a:accent1>
      <a:accent2>
        <a:srgbClr val="27588D"/>
      </a:accent2>
      <a:accent3>
        <a:srgbClr val="717271"/>
      </a:accent3>
      <a:accent4>
        <a:srgbClr val="696E9F"/>
      </a:accent4>
      <a:accent5>
        <a:srgbClr val="B34C59"/>
      </a:accent5>
      <a:accent6>
        <a:srgbClr val="4F7F70"/>
      </a:accent6>
      <a:hlink>
        <a:srgbClr val="3BB0C9"/>
      </a:hlink>
      <a:folHlink>
        <a:srgbClr val="3BB0C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Amobee PPT Template Illuminated" id="{45F041D3-F036-0E47-837B-39B80C854F78}" vid="{075890DC-0C69-3E40-9ED4-47F3725077F0}"/>
    </a:ext>
  </a:extLst>
</a:theme>
</file>

<file path=ppt/theme/theme15.xml><?xml version="1.0" encoding="utf-8"?>
<a:theme xmlns:a="http://schemas.openxmlformats.org/drawingml/2006/main" name="SG Theme">
  <a:themeElements>
    <a:clrScheme name="Amobee II">
      <a:dk1>
        <a:sysClr val="windowText" lastClr="000000"/>
      </a:dk1>
      <a:lt1>
        <a:sysClr val="window" lastClr="FFFFFF"/>
      </a:lt1>
      <a:dk2>
        <a:srgbClr val="333741"/>
      </a:dk2>
      <a:lt2>
        <a:srgbClr val="EEECE1"/>
      </a:lt2>
      <a:accent1>
        <a:srgbClr val="86090E"/>
      </a:accent1>
      <a:accent2>
        <a:srgbClr val="929899"/>
      </a:accent2>
      <a:accent3>
        <a:srgbClr val="0E283D"/>
      </a:accent3>
      <a:accent4>
        <a:srgbClr val="0E283D"/>
      </a:accent4>
      <a:accent5>
        <a:srgbClr val="205A89"/>
      </a:accent5>
      <a:accent6>
        <a:srgbClr val="318DD6"/>
      </a:accent6>
      <a:hlink>
        <a:srgbClr val="1B9BFF"/>
      </a:hlink>
      <a:folHlink>
        <a:srgbClr val="AC0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SG Theme" id="{29F26437-284F-4FB3-8356-A0BBB1FDC506}" vid="{7A82380D-9883-4F6D-A9E4-4A0B0C5787BA}"/>
    </a:ext>
  </a:extLst>
</a:theme>
</file>

<file path=ppt/theme/theme16.xml><?xml version="1.0" encoding="utf-8"?>
<a:theme xmlns:a="http://schemas.openxmlformats.org/drawingml/2006/main" name="4_Blank with Logo">
  <a:themeElements>
    <a:clrScheme name="Amobee">
      <a:dk1>
        <a:sysClr val="windowText" lastClr="000000"/>
      </a:dk1>
      <a:lt1>
        <a:sysClr val="window" lastClr="FFFFFF"/>
      </a:lt1>
      <a:dk2>
        <a:srgbClr val="FFFFFF"/>
      </a:dk2>
      <a:lt2>
        <a:srgbClr val="FFFFFF"/>
      </a:lt2>
      <a:accent1>
        <a:srgbClr val="6B9EE8"/>
      </a:accent1>
      <a:accent2>
        <a:srgbClr val="00D5DA"/>
      </a:accent2>
      <a:accent3>
        <a:srgbClr val="28CE9B"/>
      </a:accent3>
      <a:accent4>
        <a:srgbClr val="AE80F3"/>
      </a:accent4>
      <a:accent5>
        <a:srgbClr val="F2A06E"/>
      </a:accent5>
      <a:accent6>
        <a:srgbClr val="EA6868"/>
      </a:accent6>
      <a:hlink>
        <a:srgbClr val="6B9EE8"/>
      </a:hlink>
      <a:folHlink>
        <a:srgbClr val="A7EE7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17.xml><?xml version="1.0" encoding="utf-8"?>
<a:theme xmlns:a="http://schemas.openxmlformats.org/drawingml/2006/main" name="4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18.xml><?xml version="1.0" encoding="utf-8"?>
<a:theme xmlns:a="http://schemas.openxmlformats.org/drawingml/2006/main" name="5_Blank with Logo">
  <a:themeElements>
    <a:clrScheme name="Amobee">
      <a:dk1>
        <a:sysClr val="windowText" lastClr="000000"/>
      </a:dk1>
      <a:lt1>
        <a:sysClr val="window" lastClr="FFFFFF"/>
      </a:lt1>
      <a:dk2>
        <a:srgbClr val="FFFFFF"/>
      </a:dk2>
      <a:lt2>
        <a:srgbClr val="FFFFFF"/>
      </a:lt2>
      <a:accent1>
        <a:srgbClr val="6B9EE8"/>
      </a:accent1>
      <a:accent2>
        <a:srgbClr val="00D5DA"/>
      </a:accent2>
      <a:accent3>
        <a:srgbClr val="28CE9B"/>
      </a:accent3>
      <a:accent4>
        <a:srgbClr val="AE80F3"/>
      </a:accent4>
      <a:accent5>
        <a:srgbClr val="F2A06E"/>
      </a:accent5>
      <a:accent6>
        <a:srgbClr val="EA6868"/>
      </a:accent6>
      <a:hlink>
        <a:srgbClr val="6B9EE8"/>
      </a:hlink>
      <a:folHlink>
        <a:srgbClr val="A7EE7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19.xml><?xml version="1.0" encoding="utf-8"?>
<a:theme xmlns:a="http://schemas.openxmlformats.org/drawingml/2006/main" name="5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2.xml><?xml version="1.0" encoding="utf-8"?>
<a:theme xmlns:a="http://schemas.openxmlformats.org/drawingml/2006/main" name="Section Slide Master">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5467"/>
      </a:accent5>
      <a:accent6>
        <a:srgbClr val="464F36"/>
      </a:accent6>
      <a:hlink>
        <a:srgbClr val="0000FF"/>
      </a:hlink>
      <a:folHlink>
        <a:srgbClr val="800080"/>
      </a:folHlink>
    </a:clrScheme>
    <a:fontScheme name="Arial 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6_Blank with Logo">
  <a:themeElements>
    <a:clrScheme name="Amobee">
      <a:dk1>
        <a:sysClr val="windowText" lastClr="000000"/>
      </a:dk1>
      <a:lt1>
        <a:sysClr val="window" lastClr="FFFFFF"/>
      </a:lt1>
      <a:dk2>
        <a:srgbClr val="FFFFFF"/>
      </a:dk2>
      <a:lt2>
        <a:srgbClr val="FFFFFF"/>
      </a:lt2>
      <a:accent1>
        <a:srgbClr val="6B9EE8"/>
      </a:accent1>
      <a:accent2>
        <a:srgbClr val="00D5DA"/>
      </a:accent2>
      <a:accent3>
        <a:srgbClr val="28CE9B"/>
      </a:accent3>
      <a:accent4>
        <a:srgbClr val="AE80F3"/>
      </a:accent4>
      <a:accent5>
        <a:srgbClr val="F2A06E"/>
      </a:accent5>
      <a:accent6>
        <a:srgbClr val="EA6868"/>
      </a:accent6>
      <a:hlink>
        <a:srgbClr val="6B9EE8"/>
      </a:hlink>
      <a:folHlink>
        <a:srgbClr val="A7EE7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21.xml><?xml version="1.0" encoding="utf-8"?>
<a:theme xmlns:a="http://schemas.openxmlformats.org/drawingml/2006/main" name="6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22.xml><?xml version="1.0" encoding="utf-8"?>
<a:theme xmlns:a="http://schemas.openxmlformats.org/drawingml/2006/main" name="7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23.xml><?xml version="1.0" encoding="utf-8"?>
<a:theme xmlns:a="http://schemas.openxmlformats.org/drawingml/2006/main" name="8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24.xml><?xml version="1.0" encoding="utf-8"?>
<a:theme xmlns:a="http://schemas.openxmlformats.org/drawingml/2006/main" name="10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nk">
  <a:themeElements>
    <a:clrScheme name="Amobee II">
      <a:dk1>
        <a:sysClr val="windowText" lastClr="000000"/>
      </a:dk1>
      <a:lt1>
        <a:sysClr val="window" lastClr="FFFFFF"/>
      </a:lt1>
      <a:dk2>
        <a:srgbClr val="333741"/>
      </a:dk2>
      <a:lt2>
        <a:srgbClr val="EEECE1"/>
      </a:lt2>
      <a:accent1>
        <a:srgbClr val="86090E"/>
      </a:accent1>
      <a:accent2>
        <a:srgbClr val="929899"/>
      </a:accent2>
      <a:accent3>
        <a:srgbClr val="0E283D"/>
      </a:accent3>
      <a:accent4>
        <a:srgbClr val="0E283D"/>
      </a:accent4>
      <a:accent5>
        <a:srgbClr val="205A89"/>
      </a:accent5>
      <a:accent6>
        <a:srgbClr val="318DD6"/>
      </a:accent6>
      <a:hlink>
        <a:srgbClr val="1B9BFF"/>
      </a:hlink>
      <a:folHlink>
        <a:srgbClr val="AC0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blank">
  <a:themeElements>
    <a:clrScheme name="Amobee II">
      <a:dk1>
        <a:sysClr val="windowText" lastClr="000000"/>
      </a:dk1>
      <a:lt1>
        <a:sysClr val="window" lastClr="FFFFFF"/>
      </a:lt1>
      <a:dk2>
        <a:srgbClr val="333741"/>
      </a:dk2>
      <a:lt2>
        <a:srgbClr val="EEECE1"/>
      </a:lt2>
      <a:accent1>
        <a:srgbClr val="86090E"/>
      </a:accent1>
      <a:accent2>
        <a:srgbClr val="929899"/>
      </a:accent2>
      <a:accent3>
        <a:srgbClr val="0E283D"/>
      </a:accent3>
      <a:accent4>
        <a:srgbClr val="0E283D"/>
      </a:accent4>
      <a:accent5>
        <a:srgbClr val="205A89"/>
      </a:accent5>
      <a:accent6>
        <a:srgbClr val="318DD6"/>
      </a:accent6>
      <a:hlink>
        <a:srgbClr val="1B9BFF"/>
      </a:hlink>
      <a:folHlink>
        <a:srgbClr val="AC0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Kontera_4x3_Template_123113_RG">
  <a:themeElements>
    <a:clrScheme name="Kontera">
      <a:dk1>
        <a:srgbClr val="009999"/>
      </a:dk1>
      <a:lt1>
        <a:srgbClr val="6E6E6E"/>
      </a:lt1>
      <a:dk2>
        <a:srgbClr val="080908"/>
      </a:dk2>
      <a:lt2>
        <a:srgbClr val="FFFFFF"/>
      </a:lt2>
      <a:accent1>
        <a:srgbClr val="63AD45"/>
      </a:accent1>
      <a:accent2>
        <a:srgbClr val="8CA73D"/>
      </a:accent2>
      <a:accent3>
        <a:srgbClr val="F26842"/>
      </a:accent3>
      <a:accent4>
        <a:srgbClr val="425F70"/>
      </a:accent4>
      <a:accent5>
        <a:srgbClr val="663366"/>
      </a:accent5>
      <a:accent6>
        <a:srgbClr val="B4B4B4"/>
      </a:accent6>
      <a:hlink>
        <a:srgbClr val="009999"/>
      </a:hlink>
      <a:folHlink>
        <a:srgbClr val="6E6E6E"/>
      </a:folHlink>
    </a:clrScheme>
    <a:fontScheme name="Kontera">
      <a:majorFont>
        <a:latin typeface="Signika"/>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Content">
  <a:themeElements>
    <a:clrScheme name="Amobee II">
      <a:dk1>
        <a:sysClr val="windowText" lastClr="000000"/>
      </a:dk1>
      <a:lt1>
        <a:sysClr val="window" lastClr="FFFFFF"/>
      </a:lt1>
      <a:dk2>
        <a:srgbClr val="333741"/>
      </a:dk2>
      <a:lt2>
        <a:srgbClr val="EEECE1"/>
      </a:lt2>
      <a:accent1>
        <a:srgbClr val="86090E"/>
      </a:accent1>
      <a:accent2>
        <a:srgbClr val="929899"/>
      </a:accent2>
      <a:accent3>
        <a:srgbClr val="0E283D"/>
      </a:accent3>
      <a:accent4>
        <a:srgbClr val="0E283D"/>
      </a:accent4>
      <a:accent5>
        <a:srgbClr val="205A89"/>
      </a:accent5>
      <a:accent6>
        <a:srgbClr val="318DD6"/>
      </a:accent6>
      <a:hlink>
        <a:srgbClr val="1B9BFF"/>
      </a:hlink>
      <a:folHlink>
        <a:srgbClr val="AC0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Amobee PowerPoint Template-White [Read-Only]" id="{15B62D77-8999-439C-BF30-4CCBBD4A4481}" vid="{B6E31DF8-2EEF-4C41-93E9-3185B6E21F44}"/>
    </a:ext>
  </a:extLst>
</a:theme>
</file>

<file path=ppt/theme/theme7.xml><?xml version="1.0" encoding="utf-8"?>
<a:theme xmlns:a="http://schemas.openxmlformats.org/drawingml/2006/main" name="1_Content">
  <a:themeElements>
    <a:clrScheme name="Amobee II">
      <a:dk1>
        <a:sysClr val="windowText" lastClr="000000"/>
      </a:dk1>
      <a:lt1>
        <a:sysClr val="window" lastClr="FFFFFF"/>
      </a:lt1>
      <a:dk2>
        <a:srgbClr val="333741"/>
      </a:dk2>
      <a:lt2>
        <a:srgbClr val="EEECE1"/>
      </a:lt2>
      <a:accent1>
        <a:srgbClr val="86090E"/>
      </a:accent1>
      <a:accent2>
        <a:srgbClr val="929899"/>
      </a:accent2>
      <a:accent3>
        <a:srgbClr val="0E283D"/>
      </a:accent3>
      <a:accent4>
        <a:srgbClr val="0E283D"/>
      </a:accent4>
      <a:accent5>
        <a:srgbClr val="205A89"/>
      </a:accent5>
      <a:accent6>
        <a:srgbClr val="318DD6"/>
      </a:accent6>
      <a:hlink>
        <a:srgbClr val="1B9BFF"/>
      </a:hlink>
      <a:folHlink>
        <a:srgbClr val="AC0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Amobee PowerPoint Template-White [Read-Only]" id="{15B62D77-8999-439C-BF30-4CCBBD4A4481}" vid="{B6E31DF8-2EEF-4C41-93E9-3185B6E21F44}"/>
    </a:ext>
  </a:extLst>
</a:theme>
</file>

<file path=ppt/theme/theme8.xml><?xml version="1.0" encoding="utf-8"?>
<a:theme xmlns:a="http://schemas.openxmlformats.org/drawingml/2006/main" name="Title / Conclusion">
  <a:themeElements>
    <a:clrScheme name="Amobee">
      <a:dk1>
        <a:srgbClr val="000000"/>
      </a:dk1>
      <a:lt1>
        <a:srgbClr val="3BB0C9"/>
      </a:lt1>
      <a:dk2>
        <a:srgbClr val="FFFFFF"/>
      </a:dk2>
      <a:lt2>
        <a:srgbClr val="4D4845"/>
      </a:lt2>
      <a:accent1>
        <a:srgbClr val="3BB0C9"/>
      </a:accent1>
      <a:accent2>
        <a:srgbClr val="27588D"/>
      </a:accent2>
      <a:accent3>
        <a:srgbClr val="717271"/>
      </a:accent3>
      <a:accent4>
        <a:srgbClr val="696E9F"/>
      </a:accent4>
      <a:accent5>
        <a:srgbClr val="B34C59"/>
      </a:accent5>
      <a:accent6>
        <a:srgbClr val="4F7F70"/>
      </a:accent6>
      <a:hlink>
        <a:srgbClr val="3BB0C9"/>
      </a:hlink>
      <a:folHlink>
        <a:srgbClr val="3BB0C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Amobee_PPT_Template_R4_0610" id="{9E3039FA-E508-1C4B-ABAD-77A303431F29}" vid="{F4BE27D6-2C41-084C-B325-C51FA03BED33}"/>
    </a:ext>
  </a:extLst>
</a:theme>
</file>

<file path=ppt/theme/theme9.xml><?xml version="1.0" encoding="utf-8"?>
<a:theme xmlns:a="http://schemas.openxmlformats.org/drawingml/2006/main" name="1_Amobee">
  <a:themeElements>
    <a:clrScheme name="Amobee Color Template">
      <a:dk1>
        <a:sysClr val="windowText" lastClr="000000"/>
      </a:dk1>
      <a:lt1>
        <a:sysClr val="window" lastClr="FFFFFF"/>
      </a:lt1>
      <a:dk2>
        <a:srgbClr val="000000"/>
      </a:dk2>
      <a:lt2>
        <a:srgbClr val="FFFFFF"/>
      </a:lt2>
      <a:accent1>
        <a:srgbClr val="860A0E"/>
      </a:accent1>
      <a:accent2>
        <a:srgbClr val="000000"/>
      </a:accent2>
      <a:accent3>
        <a:srgbClr val="333741"/>
      </a:accent3>
      <a:accent4>
        <a:srgbClr val="CC9D35"/>
      </a:accent4>
      <a:accent5>
        <a:srgbClr val="01303B"/>
      </a:accent5>
      <a:accent6>
        <a:srgbClr val="464F36"/>
      </a:accent6>
      <a:hlink>
        <a:srgbClr val="B24F2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182880" tIns="91440" rIns="182880" bIns="91440" rtlCol="0">
        <a:spAutoFit/>
      </a:bodyPr>
      <a:lstStyle>
        <a:defPPr algn="l">
          <a:defRPr sz="2400" dirty="0" err="1" smtClean="0">
            <a:solidFill>
              <a:schemeClr val="tx1"/>
            </a:solidFill>
            <a:latin typeface="Arial"/>
            <a:cs typeface="Aria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Amobee</Template>
  <TotalTime>43686</TotalTime>
  <Words>311</Words>
  <Application>Microsoft Macintosh PowerPoint</Application>
  <PresentationFormat>On-screen Show (16:9)</PresentationFormat>
  <Paragraphs>89</Paragraphs>
  <Slides>15</Slides>
  <Notes>8</Notes>
  <HiddenSlides>0</HiddenSlides>
  <MMClips>0</MMClips>
  <ScaleCrop>false</ScaleCrop>
  <HeadingPairs>
    <vt:vector size="6" baseType="variant">
      <vt:variant>
        <vt:lpstr>Theme</vt:lpstr>
      </vt:variant>
      <vt:variant>
        <vt:i4>24</vt:i4>
      </vt:variant>
      <vt:variant>
        <vt:lpstr>Embedded OLE Servers</vt:lpstr>
      </vt:variant>
      <vt:variant>
        <vt:i4>1</vt:i4>
      </vt:variant>
      <vt:variant>
        <vt:lpstr>Slide Titles</vt:lpstr>
      </vt:variant>
      <vt:variant>
        <vt:i4>15</vt:i4>
      </vt:variant>
    </vt:vector>
  </HeadingPairs>
  <TitlesOfParts>
    <vt:vector size="40" baseType="lpstr">
      <vt:lpstr>Amobee</vt:lpstr>
      <vt:lpstr>Section Slide Master</vt:lpstr>
      <vt:lpstr>blank</vt:lpstr>
      <vt:lpstr>1_blank</vt:lpstr>
      <vt:lpstr>Kontera_4x3_Template_123113_RG</vt:lpstr>
      <vt:lpstr>Content</vt:lpstr>
      <vt:lpstr>1_Content</vt:lpstr>
      <vt:lpstr>Title / Conclusion</vt:lpstr>
      <vt:lpstr>1_Amobee</vt:lpstr>
      <vt:lpstr>2_Amobee</vt:lpstr>
      <vt:lpstr>3_Amobee</vt:lpstr>
      <vt:lpstr>3_Blank with Logo</vt:lpstr>
      <vt:lpstr>Agenda / Section Dividers</vt:lpstr>
      <vt:lpstr>Amobee PPT Master</vt:lpstr>
      <vt:lpstr>SG Theme</vt:lpstr>
      <vt:lpstr>4_Blank with Logo</vt:lpstr>
      <vt:lpstr>4_Amobee</vt:lpstr>
      <vt:lpstr>5_Blank with Logo</vt:lpstr>
      <vt:lpstr>5_Amobee</vt:lpstr>
      <vt:lpstr>6_Blank with Logo</vt:lpstr>
      <vt:lpstr>6_Amobee</vt:lpstr>
      <vt:lpstr>7_Amobee</vt:lpstr>
      <vt:lpstr>8_Amobee</vt:lpstr>
      <vt:lpstr>10_Amobee</vt:lpstr>
      <vt:lpstr>think-cell Slide</vt:lpstr>
      <vt:lpstr>Deep Learning Solutions for Sentiment Detection</vt:lpstr>
      <vt:lpstr>SemEval 20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sther Maguire</dc:creator>
  <cp:lastModifiedBy>Alon Rozental</cp:lastModifiedBy>
  <cp:revision>913</cp:revision>
  <dcterms:created xsi:type="dcterms:W3CDTF">2014-07-02T00:14:04Z</dcterms:created>
  <dcterms:modified xsi:type="dcterms:W3CDTF">2018-04-24T11:34:37Z</dcterms:modified>
</cp:coreProperties>
</file>